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7" r:id="rId2"/>
    <p:sldId id="288" r:id="rId3"/>
    <p:sldId id="1726" r:id="rId4"/>
    <p:sldId id="3058" r:id="rId5"/>
    <p:sldId id="264" r:id="rId6"/>
    <p:sldId id="291" r:id="rId7"/>
    <p:sldId id="1721" r:id="rId8"/>
    <p:sldId id="261" r:id="rId9"/>
    <p:sldId id="1723" r:id="rId10"/>
    <p:sldId id="1724" r:id="rId11"/>
    <p:sldId id="1719" r:id="rId12"/>
    <p:sldId id="1720" r:id="rId13"/>
    <p:sldId id="1725" r:id="rId14"/>
    <p:sldId id="1722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3358" autoAdjust="0"/>
  </p:normalViewPr>
  <p:slideViewPr>
    <p:cSldViewPr snapToGrid="0">
      <p:cViewPr varScale="1">
        <p:scale>
          <a:sx n="68" d="100"/>
          <a:sy n="68" d="100"/>
        </p:scale>
        <p:origin x="-822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363716-0FB2-42CB-A3F6-C72971DD3D6F}" type="datetimeFigureOut">
              <a:rPr lang="en-US" smtClean="0"/>
              <a:pPr/>
              <a:t>3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76841-B31D-4FF5-A827-E4290F6061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24680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>
              <a:defRPr/>
            </a:pPr>
            <a:fld id="{FFC9A140-8FA5-410A-BA34-EC293B15973E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5449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12192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8687A7CA-EEA1-4D1B-9151-43D84029710A}" type="datetimeFigureOut">
              <a:rPr lang="en-US" smtClean="0"/>
              <a:pPr/>
              <a:t>3/23/2021</a:t>
            </a:fld>
            <a:endParaRPr lang="en-US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Economic Development and Tourism\WCG - Logo - Economic Development and Tourism - Tagline - Transparen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2935" y="382084"/>
            <a:ext cx="72008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6603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164602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261665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496896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03936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6200" y="5516881"/>
            <a:ext cx="1211580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Economic Development and Tourism\WCG - Logo - Economic Development and Tourism - Blu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550850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502722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53311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603065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54456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26419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029917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250264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15641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210562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dirty="0"/>
            </a:p>
          </p:txBody>
        </p:sp>
        <p:pic>
          <p:nvPicPr>
            <p:cNvPr id="11" name="Picture 10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conomic Development and Tourism\WCG - Logo - Economic Development and Tourism - Tagline - Blu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79078" y="1915036"/>
            <a:ext cx="3245708" cy="687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652555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528023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87A7CA-EEA1-4D1B-9151-43D84029710A}" type="datetimeFigureOut">
              <a:rPr lang="en-US" smtClean="0"/>
              <a:pPr/>
              <a:t>3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160122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368433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001388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2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pPr marL="38100">
              <a:spcBef>
                <a:spcPts val="105"/>
              </a:spcBef>
            </a:pPr>
            <a:fld id="{81D60167-4931-47E6-BA6A-407CBD079E47}" type="slidenum">
              <a:rPr lang="en-US" smtClean="0"/>
              <a:pPr marL="38100">
                <a:spcBef>
                  <a:spcPts val="105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231107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506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3" y="1196755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66303085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59133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982972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18530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752452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001788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276223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4415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1124" name="think-cell Slide" r:id="rId37" imgW="360" imgH="36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1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12192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3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4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573F3267-9FF8-4667-BCA5-7407EC4EFE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5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6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4" name="Picture 115" descr="C:\Users\Conny\Desktop\WCG\WCG - Logo\PNG\Logos blue\Economic Development and Tourism\WCG - Logo - Economic Development and Tourism - Blue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132" y="6149079"/>
            <a:ext cx="1479157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88209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0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7F28C185-74B9-4EBC-8DFF-5BFC1BEB7F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endParaRPr lang="en-US" dirty="0"/>
          </a:p>
          <a:p>
            <a:pPr algn="ctr"/>
            <a:r>
              <a:rPr lang="en-US" dirty="0"/>
              <a:t>2021 MTEF Budget Present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02801AF9-6E58-4A70-A774-E69D9D21231F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3429000"/>
            <a:ext cx="10944225" cy="1008063"/>
          </a:xfrm>
        </p:spPr>
        <p:txBody>
          <a:bodyPr/>
          <a:lstStyle/>
          <a:p>
            <a:pPr algn="just"/>
            <a:r>
              <a:rPr lang="en-US" dirty="0"/>
              <a:t>				Budget Circular 2: </a:t>
            </a:r>
            <a:br>
              <a:rPr lang="en-US" dirty="0"/>
            </a:br>
            <a:r>
              <a:rPr lang="en-US" dirty="0"/>
              <a:t>				PHASE 2 - Approach to BUDGET 2021</a:t>
            </a:r>
          </a:p>
        </p:txBody>
      </p:sp>
    </p:spTree>
    <p:extLst>
      <p:ext uri="{BB962C8B-B14F-4D97-AF65-F5344CB8AC3E}">
        <p14:creationId xmlns:p14="http://schemas.microsoft.com/office/powerpoint/2010/main" xmlns="" val="23471166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E576E60E-8907-4492-BAFA-C045CF07A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dget Composition for Delivery  - Economic Classifica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EEB47D7-5675-42F0-B936-42BC76A7B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 algn="just">
              <a:spcBef>
                <a:spcPts val="0"/>
              </a:spcBef>
            </a:pPr>
            <a:r>
              <a:rPr lang="en-US" sz="2400" u="sng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tes: </a:t>
            </a:r>
          </a:p>
          <a:p>
            <a:pPr marL="171450" lvl="0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luded in the Transfers and Subsidies Economic Classification is the funding for operational support of the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partments' Public Entities</a:t>
            </a:r>
            <a:r>
              <a:rPr lang="en-US" sz="1300" b="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marL="351450" lvl="1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3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esgro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is allocated </a:t>
            </a:r>
            <a:r>
              <a:rPr lang="en-US" sz="13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164 898 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f which, </a:t>
            </a:r>
          </a:p>
          <a:p>
            <a:pPr marL="531450" lvl="2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3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44 387 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s for the establishment of the </a:t>
            </a:r>
            <a:r>
              <a:rPr lang="en-US" sz="13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tlantis Special Economic Zone.</a:t>
            </a:r>
          </a:p>
          <a:p>
            <a:pPr marL="351450" lvl="1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</a:t>
            </a:r>
            <a:r>
              <a:rPr lang="en-US" sz="13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ldanha Bay IDZ LiCo 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s been allocated </a:t>
            </a:r>
            <a:r>
              <a:rPr lang="en-US" sz="1300" b="1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40 054 million</a:t>
            </a:r>
            <a:r>
              <a:rPr lang="en-US" sz="1300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</a:p>
          <a:p>
            <a:pPr marL="171450" lvl="0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n-US" sz="1300" b="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 allocation of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6 500 million 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ithin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ublic Corporations and Private Enterprises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presents the funding towards the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nP Spaza Project 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R 1.500 million within Programme 2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 as well as the funding towards the implementation of the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urism Product Development Fund 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R 5 000 million within Programme 6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). </a:t>
            </a:r>
          </a:p>
          <a:p>
            <a:pPr marL="351450" lvl="1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n-US" sz="130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allocation within Households, represents the funding allocated for the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partments Skills Development interventions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namely the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rtisan Development Programme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d the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PO Skills Development project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marL="351450" lvl="1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n-US" sz="130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 algn="just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Non-Profit allocations represents the allocation for the implementation of the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MME Support Programme </a:t>
            </a:r>
            <a:r>
              <a:rPr lang="en-US" sz="13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R 23 400 million within Programme 2) </a:t>
            </a:r>
            <a:r>
              <a:rPr lang="en-US" sz="1300" b="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s well as an allocation of </a:t>
            </a:r>
            <a:r>
              <a:rPr lang="en-US" sz="1300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13 900 million to fund the operations WC EDP</a:t>
            </a:r>
          </a:p>
          <a:p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EC80C80E-0241-4D71-B71C-68E0638F95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24064456"/>
              </p:ext>
            </p:extLst>
          </p:nvPr>
        </p:nvGraphicFramePr>
        <p:xfrm>
          <a:off x="461818" y="1238088"/>
          <a:ext cx="5735783" cy="423857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75633">
                  <a:extLst>
                    <a:ext uri="{9D8B030D-6E8A-4147-A177-3AD203B41FA5}">
                      <a16:colId xmlns:a16="http://schemas.microsoft.com/office/drawing/2014/main" xmlns="" val="2370942164"/>
                    </a:ext>
                  </a:extLst>
                </a:gridCol>
                <a:gridCol w="1432256">
                  <a:extLst>
                    <a:ext uri="{9D8B030D-6E8A-4147-A177-3AD203B41FA5}">
                      <a16:colId xmlns:a16="http://schemas.microsoft.com/office/drawing/2014/main" xmlns="" val="296651172"/>
                    </a:ext>
                  </a:extLst>
                </a:gridCol>
                <a:gridCol w="1363947">
                  <a:extLst>
                    <a:ext uri="{9D8B030D-6E8A-4147-A177-3AD203B41FA5}">
                      <a16:colId xmlns:a16="http://schemas.microsoft.com/office/drawing/2014/main" xmlns="" val="1938986574"/>
                    </a:ext>
                  </a:extLst>
                </a:gridCol>
                <a:gridCol w="1363947">
                  <a:extLst>
                    <a:ext uri="{9D8B030D-6E8A-4147-A177-3AD203B41FA5}">
                      <a16:colId xmlns:a16="http://schemas.microsoft.com/office/drawing/2014/main" xmlns="" val="2075061376"/>
                    </a:ext>
                  </a:extLst>
                </a:gridCol>
              </a:tblGrid>
              <a:tr h="605005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conomic Classification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1/22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2/23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3/24</a:t>
                      </a:r>
                    </a:p>
                    <a:p>
                      <a:pPr algn="ctr"/>
                      <a:endParaRPr lang="en-US" sz="11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8401673"/>
                  </a:ext>
                </a:extLst>
              </a:tr>
              <a:tr h="337216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ompensation of Employe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2</a:t>
                      </a: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545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3 28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4 16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050217366"/>
                  </a:ext>
                </a:extLst>
              </a:tr>
              <a:tr h="357052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oods and Servic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5 94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6 67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1 995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831777050"/>
                  </a:ext>
                </a:extLst>
              </a:tr>
              <a:tr h="376888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fers</a:t>
                      </a: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and Subsidi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07 31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11 37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80 32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398491245"/>
                  </a:ext>
                </a:extLst>
              </a:tr>
              <a:tr h="287513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vinces and Municipalitie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 48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0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0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4254929768"/>
                  </a:ext>
                </a:extLst>
              </a:tr>
              <a:tr h="287513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epartmental Agencies and Account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4 95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1 67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68 16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4046903869"/>
                  </a:ext>
                </a:extLst>
              </a:tr>
              <a:tr h="287513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ublic Corporation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and Private Enterprises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5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8 27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50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613276438"/>
                  </a:ext>
                </a:extLst>
              </a:tr>
              <a:tr h="287513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n-Profit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Institutions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8 7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2 24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2 833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450273485"/>
                  </a:ext>
                </a:extLst>
              </a:tr>
              <a:tr h="287513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Household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 68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3 18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6 826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37558029"/>
                  </a:ext>
                </a:extLst>
              </a:tr>
              <a:tr h="287513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pita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 0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 21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 450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3536587349"/>
                  </a:ext>
                </a:extLst>
              </a:tr>
              <a:tr h="287513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7 807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4 551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59 933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741721"/>
                  </a:ext>
                </a:extLst>
              </a:tr>
            </a:tbl>
          </a:graphicData>
        </a:graphic>
      </p:graphicFrame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xmlns="" id="{B3B43F83-5FEE-46ED-B6F6-C1E5F456343F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10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1159118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617514"/>
          </a:xfrm>
        </p:spPr>
        <p:txBody>
          <a:bodyPr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CoE</a:t>
            </a:r>
            <a:r>
              <a:rPr lang="en-US" dirty="0">
                <a:solidFill>
                  <a:schemeClr val="tx1"/>
                </a:solidFill>
              </a:rPr>
              <a:t> is key to the achievement of Economic priorities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xmlns="" id="{9B487920-2E4D-4AC5-AC73-824391ED9D4D}"/>
              </a:ext>
            </a:extLst>
          </p:cNvPr>
          <p:cNvSpPr txBox="1">
            <a:spLocks/>
          </p:cNvSpPr>
          <p:nvPr/>
        </p:nvSpPr>
        <p:spPr>
          <a:xfrm>
            <a:off x="393701" y="1102382"/>
            <a:ext cx="11561364" cy="5182508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marR="0" lvl="1" indent="-269875" algn="just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lang="en-ZA" sz="2000" dirty="0">
                <a:solidFill>
                  <a:prstClr val="black"/>
                </a:solidFill>
                <a:latin typeface="Century Gothic"/>
                <a:ea typeface="Times New Roman"/>
                <a:cs typeface="Arial"/>
              </a:rPr>
              <a:t>26 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Times New Roman"/>
                <a:cs typeface="Arial"/>
              </a:rPr>
              <a:t>% of the budget is allocated to CoE, rising by</a:t>
            </a:r>
            <a:r>
              <a:rPr kumimoji="0" lang="en-ZA" sz="2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Times New Roman"/>
                <a:cs typeface="Arial"/>
              </a:rPr>
              <a:t> 3 % in the 2023/24 financial year</a:t>
            </a:r>
            <a:endParaRPr kumimoji="0" lang="en-Z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Times New Roman"/>
              <a:cs typeface="Arial"/>
            </a:endParaRPr>
          </a:p>
          <a:p>
            <a:pPr marL="269875" lvl="1" indent="-269875" algn="just">
              <a:lnSpc>
                <a:spcPct val="120000"/>
              </a:lnSpc>
              <a:defRPr/>
            </a:pPr>
            <a:r>
              <a:rPr lang="en-ZA" sz="2000" dirty="0" err="1">
                <a:solidFill>
                  <a:prstClr val="black"/>
                </a:solidFill>
                <a:latin typeface="Century Gothic"/>
                <a:cs typeface="Arial"/>
              </a:rPr>
              <a:t>CoE</a:t>
            </a:r>
            <a:r>
              <a:rPr lang="en-ZA" sz="2000" dirty="0">
                <a:solidFill>
                  <a:prstClr val="black"/>
                </a:solidFill>
                <a:latin typeface="Century Gothic"/>
                <a:cs typeface="Arial"/>
              </a:rPr>
              <a:t> review has identified 23</a:t>
            </a:r>
            <a:r>
              <a:rPr lang="en-ZA" sz="2000" dirty="0">
                <a:solidFill>
                  <a:srgbClr val="FF0000"/>
                </a:solidFill>
                <a:latin typeface="Century Gothic"/>
                <a:cs typeface="Arial"/>
              </a:rPr>
              <a:t> </a:t>
            </a:r>
            <a:r>
              <a:rPr lang="en-ZA" sz="2000" dirty="0">
                <a:solidFill>
                  <a:prstClr val="black"/>
                </a:solidFill>
                <a:latin typeface="Century Gothic"/>
                <a:cs typeface="Arial"/>
              </a:rPr>
              <a:t>critical posts over the 2021 MTEF of which three (3)</a:t>
            </a:r>
            <a:r>
              <a:rPr lang="en-ZA" sz="2000" dirty="0">
                <a:solidFill>
                  <a:srgbClr val="FF0000"/>
                </a:solidFill>
                <a:latin typeface="Century Gothic"/>
                <a:cs typeface="Arial"/>
              </a:rPr>
              <a:t> </a:t>
            </a:r>
            <a:r>
              <a:rPr lang="en-ZA" sz="2000" dirty="0">
                <a:solidFill>
                  <a:prstClr val="black"/>
                </a:solidFill>
                <a:latin typeface="Century Gothic"/>
                <a:cs typeface="Arial"/>
              </a:rPr>
              <a:t>is Senior Management and eight (8)Middle Management positions</a:t>
            </a:r>
            <a:r>
              <a:rPr lang="en-US" sz="2000" dirty="0">
                <a:solidFill>
                  <a:prstClr val="black"/>
                </a:solidFill>
                <a:latin typeface="Century Gothic"/>
                <a:cs typeface="Arial"/>
              </a:rPr>
              <a:t>:</a:t>
            </a:r>
          </a:p>
          <a:p>
            <a:pPr marL="449875" lvl="2" indent="-269875" algn="just">
              <a:lnSpc>
                <a:spcPct val="120000"/>
              </a:lnSpc>
              <a:defRPr/>
            </a:pPr>
            <a:r>
              <a:rPr lang="en-US" sz="2000" dirty="0">
                <a:solidFill>
                  <a:prstClr val="black"/>
                </a:solidFill>
                <a:latin typeface="Century Gothic"/>
                <a:cs typeface="Arial"/>
              </a:rPr>
              <a:t>Critical post recruitment processes underway (e.g., Director: Red Tape, Green Economy, Business Regulations)</a:t>
            </a:r>
          </a:p>
          <a:p>
            <a:pPr marL="449875" lvl="2" indent="-269875">
              <a:lnSpc>
                <a:spcPct val="120000"/>
              </a:lnSpc>
              <a:spcBef>
                <a:spcPts val="600"/>
              </a:spcBef>
              <a:defRPr/>
            </a:pPr>
            <a:r>
              <a:rPr lang="en-US" sz="2000" dirty="0">
                <a:solidFill>
                  <a:prstClr val="black"/>
                </a:solidFill>
                <a:latin typeface="Century Gothic"/>
                <a:cs typeface="Arial"/>
              </a:rPr>
              <a:t>17 % (46 posts) of the approved establishment could not be funded within the allocation in the first year of the MTEF.</a:t>
            </a:r>
            <a:endParaRPr lang="en-ZA" sz="2000" dirty="0">
              <a:solidFill>
                <a:prstClr val="black"/>
              </a:solidFill>
              <a:latin typeface="Century Gothic"/>
              <a:ea typeface="Times New Roman"/>
              <a:cs typeface="Arial"/>
            </a:endParaRPr>
          </a:p>
          <a:p>
            <a:pPr marL="269875" marR="0" lvl="1" indent="-269875" algn="just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endParaRPr kumimoji="0" lang="en-Z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Times New Roman"/>
              <a:cs typeface="Arial"/>
            </a:endParaRPr>
          </a:p>
          <a:p>
            <a:pPr marL="269875" marR="0" lvl="1" indent="-269875" algn="just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endParaRPr lang="en-ZA" sz="2000" dirty="0">
              <a:solidFill>
                <a:prstClr val="black"/>
              </a:solidFill>
              <a:latin typeface="Century Gothic"/>
              <a:ea typeface="Times New Roman"/>
              <a:cs typeface="Arial"/>
            </a:endParaRPr>
          </a:p>
          <a:p>
            <a:pPr marL="0" marR="0" lvl="1" indent="0" algn="just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None/>
              <a:tabLst/>
              <a:defRPr/>
            </a:pPr>
            <a:endParaRPr kumimoji="0" lang="en-Z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Times New Roman"/>
              <a:cs typeface="Arial"/>
            </a:endParaRPr>
          </a:p>
          <a:p>
            <a:pPr marL="0" marR="0" lvl="1" indent="0" algn="just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None/>
              <a:tabLst/>
              <a:defRPr/>
            </a:pPr>
            <a:endParaRPr kumimoji="0" lang="en-Z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Arial"/>
            </a:endParaRPr>
          </a:p>
          <a:p>
            <a:pPr marL="0" marR="0" lvl="1" indent="0" algn="just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           </a:t>
            </a: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**Note: Increase in unfunded posts in </a:t>
            </a:r>
            <a:r>
              <a:rPr lang="en-ZA" sz="1400" dirty="0">
                <a:solidFill>
                  <a:prstClr val="black"/>
                </a:solidFill>
                <a:latin typeface="Century Gothic"/>
                <a:cs typeface="Arial"/>
              </a:rPr>
              <a:t>2022/23 and 2023/24 relates to the termination of contract posts</a:t>
            </a:r>
            <a:endParaRPr kumimoji="0" lang="en-ZA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Arial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203317" y="4130018"/>
          <a:ext cx="10058400" cy="147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13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030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151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eadcou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484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21/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484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484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/>
                        <a:t>2023/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14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b="0" dirty="0"/>
                        <a:t>Total Approved Establishm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0" dirty="0"/>
                        <a:t>27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0" dirty="0"/>
                        <a:t>27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0" dirty="0"/>
                        <a:t>27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819099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r>
                        <a:rPr lang="en-US" i="1" dirty="0"/>
                        <a:t>- Less unfunded pos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i="1" dirty="0"/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i="1" dirty="0"/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i="1" dirty="0"/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261671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 dirty="0"/>
                        <a:t>Total Funded Establishm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/>
                        <a:t>23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/>
                        <a:t>2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/>
                        <a:t>2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xmlns="" id="{D5863211-D2AE-4E38-A4C0-EC387C37830A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11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3467410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8C850A7C-4488-466D-BD3E-265D1870F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667" y="0"/>
            <a:ext cx="8967887" cy="96513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GB" dirty="0">
                <a:solidFill>
                  <a:srgbClr val="001489"/>
                </a:solidFill>
              </a:rPr>
              <a:t>Budget </a:t>
            </a:r>
            <a:r>
              <a:rPr lang="en-GB" dirty="0"/>
              <a:t>Composition for Delivery  - Public Entity Allocations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01345411"/>
              </p:ext>
            </p:extLst>
          </p:nvPr>
        </p:nvGraphicFramePr>
        <p:xfrm>
          <a:off x="353085" y="1251992"/>
          <a:ext cx="10619716" cy="47919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34358">
                  <a:extLst>
                    <a:ext uri="{9D8B030D-6E8A-4147-A177-3AD203B41FA5}">
                      <a16:colId xmlns:a16="http://schemas.microsoft.com/office/drawing/2014/main" xmlns="" val="2370942164"/>
                    </a:ext>
                  </a:extLst>
                </a:gridCol>
                <a:gridCol w="2121940">
                  <a:extLst>
                    <a:ext uri="{9D8B030D-6E8A-4147-A177-3AD203B41FA5}">
                      <a16:colId xmlns:a16="http://schemas.microsoft.com/office/drawing/2014/main" xmlns="" val="1652906792"/>
                    </a:ext>
                  </a:extLst>
                </a:gridCol>
                <a:gridCol w="2121940">
                  <a:extLst>
                    <a:ext uri="{9D8B030D-6E8A-4147-A177-3AD203B41FA5}">
                      <a16:colId xmlns:a16="http://schemas.microsoft.com/office/drawing/2014/main" xmlns="" val="296651172"/>
                    </a:ext>
                  </a:extLst>
                </a:gridCol>
                <a:gridCol w="2020739">
                  <a:extLst>
                    <a:ext uri="{9D8B030D-6E8A-4147-A177-3AD203B41FA5}">
                      <a16:colId xmlns:a16="http://schemas.microsoft.com/office/drawing/2014/main" xmlns="" val="1938986574"/>
                    </a:ext>
                  </a:extLst>
                </a:gridCol>
                <a:gridCol w="2020739">
                  <a:extLst>
                    <a:ext uri="{9D8B030D-6E8A-4147-A177-3AD203B41FA5}">
                      <a16:colId xmlns:a16="http://schemas.microsoft.com/office/drawing/2014/main" xmlns="" val="2075061376"/>
                    </a:ext>
                  </a:extLst>
                </a:gridCol>
              </a:tblGrid>
              <a:tr h="928363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ntity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erformance Information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1/22</a:t>
                      </a:r>
                    </a:p>
                    <a:p>
                      <a:pPr algn="ctr"/>
                      <a:endParaRPr lang="en-US" sz="16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2/23</a:t>
                      </a:r>
                    </a:p>
                    <a:p>
                      <a:pPr algn="ctr"/>
                      <a:endParaRPr lang="en-US" sz="16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3/24</a:t>
                      </a:r>
                    </a:p>
                    <a:p>
                      <a:pPr algn="ctr"/>
                      <a:endParaRPr lang="en-US" sz="16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8401673"/>
                  </a:ext>
                </a:extLst>
              </a:tr>
              <a:tr h="2012582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Western Cape Tourism, Trade and Investment Promotion Agency (Wesgro)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stimated rand value of trade agreements signed (measured in R’ Billion)</a:t>
                      </a:r>
                    </a:p>
                    <a:p>
                      <a:pPr algn="just"/>
                      <a:r>
                        <a:rPr lang="en-US" sz="1400" b="1" dirty="0">
                          <a:solidFill>
                            <a:srgbClr val="FF0000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arget: R 2.8b</a:t>
                      </a:r>
                    </a:p>
                    <a:p>
                      <a:pPr algn="just"/>
                      <a:endParaRPr lang="en-US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just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umber of Jobs created/sustained</a:t>
                      </a:r>
                    </a:p>
                    <a:p>
                      <a:pPr algn="just"/>
                      <a:r>
                        <a:rPr lang="en-US" sz="1400" b="1" dirty="0">
                          <a:solidFill>
                            <a:srgbClr val="FF0000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arget 97 668</a:t>
                      </a:r>
                      <a:endParaRPr lang="en-US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20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511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20 511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26 63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050217366"/>
                  </a:ext>
                </a:extLst>
              </a:tr>
              <a:tr h="711519">
                <a:tc>
                  <a:txBody>
                    <a:bodyPr/>
                    <a:lstStyle/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tlantis SEZ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umbe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of jobs created / sustained</a:t>
                      </a:r>
                    </a:p>
                    <a:p>
                      <a:pPr algn="just"/>
                      <a:r>
                        <a:rPr lang="en-US" sz="1400" b="1" baseline="0" dirty="0">
                          <a:solidFill>
                            <a:srgbClr val="FF0000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arget: 300</a:t>
                      </a:r>
                      <a:endParaRPr lang="en-US" sz="1400" b="1" dirty="0">
                        <a:solidFill>
                          <a:srgbClr val="FF0000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4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387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9 18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1 533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831777050"/>
                  </a:ext>
                </a:extLst>
              </a:tr>
              <a:tr h="711519">
                <a:tc>
                  <a:txBody>
                    <a:bodyPr/>
                    <a:lstStyle/>
                    <a:p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aldanha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IDZ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umber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of jobs created / sustained</a:t>
                      </a:r>
                    </a:p>
                    <a:p>
                      <a:pPr algn="just"/>
                      <a:r>
                        <a:rPr lang="en-US" sz="1400" b="1" baseline="0" dirty="0">
                          <a:solidFill>
                            <a:srgbClr val="FF0000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arget: 2 980</a:t>
                      </a:r>
                      <a:endParaRPr lang="en-US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0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054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1 97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-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398491245"/>
                  </a:ext>
                </a:extLst>
              </a:tr>
              <a:tr h="277831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4 952</a:t>
                      </a: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1 670</a:t>
                      </a: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68 168</a:t>
                      </a: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741721"/>
                  </a:ext>
                </a:extLst>
              </a:tr>
            </a:tbl>
          </a:graphicData>
        </a:graphic>
      </p:graphicFrame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xmlns="" id="{A7E0FF2F-9BE6-4E6D-9316-78C06CCB9E32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12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2907379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8C850A7C-4488-466D-BD3E-265D1870F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667" y="0"/>
            <a:ext cx="8967887" cy="96513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 </a:t>
            </a:r>
            <a:r>
              <a:rPr lang="en-GB" dirty="0">
                <a:solidFill>
                  <a:srgbClr val="001489"/>
                </a:solidFill>
              </a:rPr>
              <a:t>Budget </a:t>
            </a:r>
            <a:r>
              <a:rPr lang="en-GB" dirty="0"/>
              <a:t>Composition for Delivery  - Earmarked  Allocations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29784" y="5831174"/>
            <a:ext cx="4392118" cy="8994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8406321"/>
              </p:ext>
            </p:extLst>
          </p:nvPr>
        </p:nvGraphicFramePr>
        <p:xfrm>
          <a:off x="1169233" y="1094151"/>
          <a:ext cx="9938478" cy="55822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51665">
                  <a:extLst>
                    <a:ext uri="{9D8B030D-6E8A-4147-A177-3AD203B41FA5}">
                      <a16:colId xmlns:a16="http://schemas.microsoft.com/office/drawing/2014/main" xmlns="" val="2370942164"/>
                    </a:ext>
                  </a:extLst>
                </a:gridCol>
                <a:gridCol w="4617098">
                  <a:extLst>
                    <a:ext uri="{9D8B030D-6E8A-4147-A177-3AD203B41FA5}">
                      <a16:colId xmlns:a16="http://schemas.microsoft.com/office/drawing/2014/main" xmlns="" val="1652906792"/>
                    </a:ext>
                  </a:extLst>
                </a:gridCol>
                <a:gridCol w="1116063">
                  <a:extLst>
                    <a:ext uri="{9D8B030D-6E8A-4147-A177-3AD203B41FA5}">
                      <a16:colId xmlns:a16="http://schemas.microsoft.com/office/drawing/2014/main" xmlns="" val="296651172"/>
                    </a:ext>
                  </a:extLst>
                </a:gridCol>
                <a:gridCol w="1004341">
                  <a:extLst>
                    <a:ext uri="{9D8B030D-6E8A-4147-A177-3AD203B41FA5}">
                      <a16:colId xmlns:a16="http://schemas.microsoft.com/office/drawing/2014/main" xmlns="" val="1938986574"/>
                    </a:ext>
                  </a:extLst>
                </a:gridCol>
                <a:gridCol w="1049311">
                  <a:extLst>
                    <a:ext uri="{9D8B030D-6E8A-4147-A177-3AD203B41FA5}">
                      <a16:colId xmlns:a16="http://schemas.microsoft.com/office/drawing/2014/main" xmlns="" val="2075061376"/>
                    </a:ext>
                  </a:extLst>
                </a:gridCol>
              </a:tblGrid>
              <a:tr h="1234245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llocation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urpose of Allocation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armarked Allocation</a:t>
                      </a: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1/22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armarked  Allocation</a:t>
                      </a: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2/23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armarked Allocation</a:t>
                      </a: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3/24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8401673"/>
                  </a:ext>
                </a:extLst>
              </a:tr>
              <a:tr h="64850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PO Skills Development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Specifically and exclusively towards upscaling skills development initiatives in the Province, specifically within the BPO and Technology Sector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1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440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2 949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4 399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050217366"/>
                  </a:ext>
                </a:extLst>
              </a:tr>
              <a:tr h="479472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reen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Economy and Energy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Specifically and exclusively for the purpose of supporting the Municipal Energy Resilience projects.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8 80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 00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-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77913409"/>
                  </a:ext>
                </a:extLst>
              </a:tr>
              <a:tr h="768187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Wesgro: Trade and Investment Promotion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Specifically and exclusively towards supporting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Wesgro’s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export growth, trade and investment promotion initiatives to propel economic growth and job creation in the Provinc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2 11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2 113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3 635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2183310920"/>
                  </a:ext>
                </a:extLst>
              </a:tr>
              <a:tr h="768187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Wesgro: Tourism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 Destination Marketing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endParaRPr lang="en-US" sz="14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Specifically and exclusively towards promoting and upscaling destination marketing initiatives to propel economic growth and job creation in the Provinc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8 398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8 398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3 00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339786953"/>
                  </a:ext>
                </a:extLst>
              </a:tr>
              <a:tr h="479472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urism Safety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Specifically and exclusively towards the implementation of tourism safety initiatives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 48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000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000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879864014"/>
                  </a:ext>
                </a:extLst>
              </a:tr>
              <a:tr h="335115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tlantis SEZ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or the purpose of establishing the Atlantis SEZ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4 38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9 182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1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533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831777050"/>
                  </a:ext>
                </a:extLst>
              </a:tr>
              <a:tr h="479472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aldanha</a:t>
                      </a:r>
                      <a:r>
                        <a:rPr lang="en-US" sz="1400" b="1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IDZ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or the purpose of establishing the </a:t>
                      </a:r>
                      <a:r>
                        <a:rPr lang="en-US" sz="1400" b="0" dirty="0" err="1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aldanha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Bay IDZ</a:t>
                      </a:r>
                    </a:p>
                    <a:p>
                      <a:pPr algn="just"/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0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054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1 977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-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398491245"/>
                  </a:ext>
                </a:extLst>
              </a:tr>
              <a:tr h="258006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70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672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60 619</a:t>
                      </a: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8 567</a:t>
                      </a:r>
                    </a:p>
                  </a:txBody>
                  <a:tcPr marL="68580" marR="68580" marT="34290" marB="3429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741721"/>
                  </a:ext>
                </a:extLst>
              </a:tr>
            </a:tbl>
          </a:graphicData>
        </a:graphic>
      </p:graphicFrame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xmlns="" id="{A8DF98F1-9655-4AC2-9E45-3E107518E148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13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40098438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152724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1894269" y="1219136"/>
            <a:ext cx="1746885" cy="1757680"/>
            <a:chOff x="370268" y="1219136"/>
            <a:chExt cx="1746885" cy="1757680"/>
          </a:xfrm>
        </p:grpSpPr>
        <p:sp>
          <p:nvSpPr>
            <p:cNvPr id="3" name="object 3"/>
            <p:cNvSpPr/>
            <p:nvPr/>
          </p:nvSpPr>
          <p:spPr>
            <a:xfrm>
              <a:off x="383286" y="1232154"/>
              <a:ext cx="1720850" cy="1731645"/>
            </a:xfrm>
            <a:custGeom>
              <a:avLst/>
              <a:gdLst/>
              <a:ahLst/>
              <a:cxnLst/>
              <a:rect l="l" t="t" r="r" b="b"/>
              <a:pathLst>
                <a:path w="1720850" h="1731645">
                  <a:moveTo>
                    <a:pt x="860298" y="0"/>
                  </a:moveTo>
                  <a:lnTo>
                    <a:pt x="860298" y="259715"/>
                  </a:lnTo>
                  <a:lnTo>
                    <a:pt x="0" y="259715"/>
                  </a:lnTo>
                  <a:lnTo>
                    <a:pt x="0" y="1471549"/>
                  </a:lnTo>
                  <a:lnTo>
                    <a:pt x="860298" y="1471549"/>
                  </a:lnTo>
                  <a:lnTo>
                    <a:pt x="860298" y="1731264"/>
                  </a:lnTo>
                  <a:lnTo>
                    <a:pt x="1720595" y="865632"/>
                  </a:lnTo>
                  <a:lnTo>
                    <a:pt x="860298" y="0"/>
                  </a:lnTo>
                  <a:close/>
                </a:path>
              </a:pathLst>
            </a:custGeom>
            <a:solidFill>
              <a:srgbClr val="002573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383286" y="1232154"/>
              <a:ext cx="1720850" cy="1731645"/>
            </a:xfrm>
            <a:custGeom>
              <a:avLst/>
              <a:gdLst/>
              <a:ahLst/>
              <a:cxnLst/>
              <a:rect l="l" t="t" r="r" b="b"/>
              <a:pathLst>
                <a:path w="1720850" h="1731645">
                  <a:moveTo>
                    <a:pt x="0" y="259715"/>
                  </a:moveTo>
                  <a:lnTo>
                    <a:pt x="860298" y="259715"/>
                  </a:lnTo>
                  <a:lnTo>
                    <a:pt x="860298" y="0"/>
                  </a:lnTo>
                  <a:lnTo>
                    <a:pt x="1720595" y="865632"/>
                  </a:lnTo>
                  <a:lnTo>
                    <a:pt x="860298" y="1731264"/>
                  </a:lnTo>
                  <a:lnTo>
                    <a:pt x="860298" y="1471549"/>
                  </a:lnTo>
                  <a:lnTo>
                    <a:pt x="0" y="1471549"/>
                  </a:lnTo>
                  <a:lnTo>
                    <a:pt x="0" y="259715"/>
                  </a:lnTo>
                  <a:close/>
                </a:path>
              </a:pathLst>
            </a:custGeom>
            <a:ln w="25908">
              <a:solidFill>
                <a:srgbClr val="D4E2E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2514396" y="1898397"/>
            <a:ext cx="495300" cy="377825"/>
          </a:xfrm>
          <a:prstGeom prst="rect">
            <a:avLst/>
          </a:prstGeom>
        </p:spPr>
        <p:txBody>
          <a:bodyPr vert="horz" wrap="square" lIns="0" tIns="29845" rIns="0" bIns="0" rtlCol="0">
            <a:spAutoFit/>
          </a:bodyPr>
          <a:lstStyle/>
          <a:p>
            <a:pPr marL="12700" marR="5080" indent="1270">
              <a:lnSpc>
                <a:spcPts val="1330"/>
              </a:lnSpc>
              <a:spcBef>
                <a:spcPts val="235"/>
              </a:spcBef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Se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c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t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o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r 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b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a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sed</a:t>
            </a:r>
            <a:endParaRPr sz="1200">
              <a:latin typeface="Century Gothic"/>
              <a:cs typeface="Century Gothic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1511048" y="1655065"/>
            <a:ext cx="839469" cy="885825"/>
            <a:chOff x="-12953" y="1655064"/>
            <a:chExt cx="839469" cy="885825"/>
          </a:xfrm>
        </p:grpSpPr>
        <p:sp>
          <p:nvSpPr>
            <p:cNvPr id="7" name="object 7"/>
            <p:cNvSpPr/>
            <p:nvPr/>
          </p:nvSpPr>
          <p:spPr>
            <a:xfrm>
              <a:off x="0" y="1668018"/>
              <a:ext cx="813435" cy="859790"/>
            </a:xfrm>
            <a:custGeom>
              <a:avLst/>
              <a:gdLst/>
              <a:ahLst/>
              <a:cxnLst/>
              <a:rect l="l" t="t" r="r" b="b"/>
              <a:pathLst>
                <a:path w="813435" h="859789">
                  <a:moveTo>
                    <a:pt x="383286" y="0"/>
                  </a:moveTo>
                  <a:lnTo>
                    <a:pt x="336458" y="2521"/>
                  </a:lnTo>
                  <a:lnTo>
                    <a:pt x="291091" y="9912"/>
                  </a:lnTo>
                  <a:lnTo>
                    <a:pt x="247447" y="21909"/>
                  </a:lnTo>
                  <a:lnTo>
                    <a:pt x="205788" y="38250"/>
                  </a:lnTo>
                  <a:lnTo>
                    <a:pt x="166375" y="58674"/>
                  </a:lnTo>
                  <a:lnTo>
                    <a:pt x="129472" y="82917"/>
                  </a:lnTo>
                  <a:lnTo>
                    <a:pt x="95340" y="110719"/>
                  </a:lnTo>
                  <a:lnTo>
                    <a:pt x="64242" y="141817"/>
                  </a:lnTo>
                  <a:lnTo>
                    <a:pt x="36439" y="175948"/>
                  </a:lnTo>
                  <a:lnTo>
                    <a:pt x="12194" y="212851"/>
                  </a:lnTo>
                  <a:lnTo>
                    <a:pt x="0" y="236384"/>
                  </a:lnTo>
                  <a:lnTo>
                    <a:pt x="0" y="623151"/>
                  </a:lnTo>
                  <a:lnTo>
                    <a:pt x="36439" y="683587"/>
                  </a:lnTo>
                  <a:lnTo>
                    <a:pt x="64242" y="717718"/>
                  </a:lnTo>
                  <a:lnTo>
                    <a:pt x="95340" y="748816"/>
                  </a:lnTo>
                  <a:lnTo>
                    <a:pt x="129472" y="776618"/>
                  </a:lnTo>
                  <a:lnTo>
                    <a:pt x="166375" y="800862"/>
                  </a:lnTo>
                  <a:lnTo>
                    <a:pt x="205788" y="821285"/>
                  </a:lnTo>
                  <a:lnTo>
                    <a:pt x="247447" y="837626"/>
                  </a:lnTo>
                  <a:lnTo>
                    <a:pt x="291091" y="849623"/>
                  </a:lnTo>
                  <a:lnTo>
                    <a:pt x="336458" y="857014"/>
                  </a:lnTo>
                  <a:lnTo>
                    <a:pt x="383286" y="859536"/>
                  </a:lnTo>
                  <a:lnTo>
                    <a:pt x="430113" y="857014"/>
                  </a:lnTo>
                  <a:lnTo>
                    <a:pt x="475480" y="849623"/>
                  </a:lnTo>
                  <a:lnTo>
                    <a:pt x="519124" y="837626"/>
                  </a:lnTo>
                  <a:lnTo>
                    <a:pt x="560783" y="821285"/>
                  </a:lnTo>
                  <a:lnTo>
                    <a:pt x="600196" y="800862"/>
                  </a:lnTo>
                  <a:lnTo>
                    <a:pt x="637099" y="776618"/>
                  </a:lnTo>
                  <a:lnTo>
                    <a:pt x="671231" y="748816"/>
                  </a:lnTo>
                  <a:lnTo>
                    <a:pt x="702329" y="717718"/>
                  </a:lnTo>
                  <a:lnTo>
                    <a:pt x="730132" y="683587"/>
                  </a:lnTo>
                  <a:lnTo>
                    <a:pt x="754377" y="646684"/>
                  </a:lnTo>
                  <a:lnTo>
                    <a:pt x="774801" y="607271"/>
                  </a:lnTo>
                  <a:lnTo>
                    <a:pt x="791143" y="565611"/>
                  </a:lnTo>
                  <a:lnTo>
                    <a:pt x="803141" y="521965"/>
                  </a:lnTo>
                  <a:lnTo>
                    <a:pt x="810532" y="476597"/>
                  </a:lnTo>
                  <a:lnTo>
                    <a:pt x="813054" y="429768"/>
                  </a:lnTo>
                  <a:lnTo>
                    <a:pt x="810532" y="382938"/>
                  </a:lnTo>
                  <a:lnTo>
                    <a:pt x="803141" y="337570"/>
                  </a:lnTo>
                  <a:lnTo>
                    <a:pt x="791143" y="293924"/>
                  </a:lnTo>
                  <a:lnTo>
                    <a:pt x="774801" y="252264"/>
                  </a:lnTo>
                  <a:lnTo>
                    <a:pt x="754377" y="212851"/>
                  </a:lnTo>
                  <a:lnTo>
                    <a:pt x="730132" y="175948"/>
                  </a:lnTo>
                  <a:lnTo>
                    <a:pt x="702329" y="141817"/>
                  </a:lnTo>
                  <a:lnTo>
                    <a:pt x="671231" y="110719"/>
                  </a:lnTo>
                  <a:lnTo>
                    <a:pt x="637099" y="82917"/>
                  </a:lnTo>
                  <a:lnTo>
                    <a:pt x="600196" y="58674"/>
                  </a:lnTo>
                  <a:lnTo>
                    <a:pt x="560783" y="38250"/>
                  </a:lnTo>
                  <a:lnTo>
                    <a:pt x="519124" y="21909"/>
                  </a:lnTo>
                  <a:lnTo>
                    <a:pt x="475480" y="9912"/>
                  </a:lnTo>
                  <a:lnTo>
                    <a:pt x="430113" y="2521"/>
                  </a:lnTo>
                  <a:lnTo>
                    <a:pt x="383286" y="0"/>
                  </a:lnTo>
                  <a:close/>
                </a:path>
              </a:pathLst>
            </a:custGeom>
            <a:solidFill>
              <a:srgbClr val="D1730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0" y="1668018"/>
              <a:ext cx="813435" cy="859790"/>
            </a:xfrm>
            <a:custGeom>
              <a:avLst/>
              <a:gdLst/>
              <a:ahLst/>
              <a:cxnLst/>
              <a:rect l="l" t="t" r="r" b="b"/>
              <a:pathLst>
                <a:path w="813435" h="859789">
                  <a:moveTo>
                    <a:pt x="0" y="236384"/>
                  </a:moveTo>
                  <a:lnTo>
                    <a:pt x="36439" y="175948"/>
                  </a:lnTo>
                  <a:lnTo>
                    <a:pt x="64242" y="141817"/>
                  </a:lnTo>
                  <a:lnTo>
                    <a:pt x="95340" y="110719"/>
                  </a:lnTo>
                  <a:lnTo>
                    <a:pt x="129472" y="82917"/>
                  </a:lnTo>
                  <a:lnTo>
                    <a:pt x="166375" y="58674"/>
                  </a:lnTo>
                  <a:lnTo>
                    <a:pt x="205788" y="38250"/>
                  </a:lnTo>
                  <a:lnTo>
                    <a:pt x="247447" y="21909"/>
                  </a:lnTo>
                  <a:lnTo>
                    <a:pt x="291091" y="9912"/>
                  </a:lnTo>
                  <a:lnTo>
                    <a:pt x="336458" y="2521"/>
                  </a:lnTo>
                  <a:lnTo>
                    <a:pt x="383286" y="0"/>
                  </a:lnTo>
                  <a:lnTo>
                    <a:pt x="430113" y="2521"/>
                  </a:lnTo>
                  <a:lnTo>
                    <a:pt x="475480" y="9912"/>
                  </a:lnTo>
                  <a:lnTo>
                    <a:pt x="519124" y="21909"/>
                  </a:lnTo>
                  <a:lnTo>
                    <a:pt x="560783" y="38250"/>
                  </a:lnTo>
                  <a:lnTo>
                    <a:pt x="600196" y="58674"/>
                  </a:lnTo>
                  <a:lnTo>
                    <a:pt x="637099" y="82917"/>
                  </a:lnTo>
                  <a:lnTo>
                    <a:pt x="671231" y="110719"/>
                  </a:lnTo>
                  <a:lnTo>
                    <a:pt x="702329" y="141817"/>
                  </a:lnTo>
                  <a:lnTo>
                    <a:pt x="730132" y="175948"/>
                  </a:lnTo>
                  <a:lnTo>
                    <a:pt x="754377" y="212851"/>
                  </a:lnTo>
                  <a:lnTo>
                    <a:pt x="774801" y="252264"/>
                  </a:lnTo>
                  <a:lnTo>
                    <a:pt x="791143" y="293924"/>
                  </a:lnTo>
                  <a:lnTo>
                    <a:pt x="803141" y="337570"/>
                  </a:lnTo>
                  <a:lnTo>
                    <a:pt x="810532" y="382938"/>
                  </a:lnTo>
                  <a:lnTo>
                    <a:pt x="813054" y="429768"/>
                  </a:lnTo>
                  <a:lnTo>
                    <a:pt x="810532" y="476597"/>
                  </a:lnTo>
                  <a:lnTo>
                    <a:pt x="803141" y="521965"/>
                  </a:lnTo>
                  <a:lnTo>
                    <a:pt x="791143" y="565611"/>
                  </a:lnTo>
                  <a:lnTo>
                    <a:pt x="774801" y="607271"/>
                  </a:lnTo>
                  <a:lnTo>
                    <a:pt x="754377" y="646684"/>
                  </a:lnTo>
                  <a:lnTo>
                    <a:pt x="730132" y="683587"/>
                  </a:lnTo>
                  <a:lnTo>
                    <a:pt x="702329" y="717718"/>
                  </a:lnTo>
                  <a:lnTo>
                    <a:pt x="671231" y="748816"/>
                  </a:lnTo>
                  <a:lnTo>
                    <a:pt x="637099" y="776618"/>
                  </a:lnTo>
                  <a:lnTo>
                    <a:pt x="600196" y="800862"/>
                  </a:lnTo>
                  <a:lnTo>
                    <a:pt x="560783" y="821285"/>
                  </a:lnTo>
                  <a:lnTo>
                    <a:pt x="519124" y="837626"/>
                  </a:lnTo>
                  <a:lnTo>
                    <a:pt x="475480" y="849623"/>
                  </a:lnTo>
                  <a:lnTo>
                    <a:pt x="430113" y="857014"/>
                  </a:lnTo>
                  <a:lnTo>
                    <a:pt x="383286" y="859536"/>
                  </a:lnTo>
                  <a:lnTo>
                    <a:pt x="336458" y="857014"/>
                  </a:lnTo>
                  <a:lnTo>
                    <a:pt x="291091" y="849623"/>
                  </a:lnTo>
                  <a:lnTo>
                    <a:pt x="247447" y="837626"/>
                  </a:lnTo>
                  <a:lnTo>
                    <a:pt x="205788" y="821285"/>
                  </a:lnTo>
                  <a:lnTo>
                    <a:pt x="166375" y="800862"/>
                  </a:lnTo>
                  <a:lnTo>
                    <a:pt x="129472" y="776618"/>
                  </a:lnTo>
                  <a:lnTo>
                    <a:pt x="95340" y="748816"/>
                  </a:lnTo>
                  <a:lnTo>
                    <a:pt x="64242" y="717718"/>
                  </a:lnTo>
                  <a:lnTo>
                    <a:pt x="36439" y="683587"/>
                  </a:lnTo>
                  <a:lnTo>
                    <a:pt x="12194" y="646684"/>
                  </a:lnTo>
                  <a:lnTo>
                    <a:pt x="0" y="623151"/>
                  </a:lnTo>
                </a:path>
              </a:pathLst>
            </a:custGeom>
            <a:ln w="2590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651812" y="1965452"/>
            <a:ext cx="508634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15" dirty="0">
                <a:solidFill>
                  <a:srgbClr val="FFFFFF"/>
                </a:solidFill>
                <a:latin typeface="Century Gothic"/>
                <a:cs typeface="Century Gothic"/>
              </a:rPr>
              <a:t>M</a:t>
            </a:r>
            <a:r>
              <a:rPr sz="1400" spc="-5" dirty="0">
                <a:solidFill>
                  <a:srgbClr val="FFFFFF"/>
                </a:solidFill>
                <a:latin typeface="Century Gothic"/>
                <a:cs typeface="Century Gothic"/>
              </a:rPr>
              <a:t>EDS</a:t>
            </a:r>
            <a:endParaRPr sz="1400">
              <a:latin typeface="Century Gothic"/>
              <a:cs typeface="Century Gothic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4152836" y="1219136"/>
            <a:ext cx="1745614" cy="1757680"/>
            <a:chOff x="2628836" y="1219136"/>
            <a:chExt cx="1745614" cy="1757680"/>
          </a:xfrm>
        </p:grpSpPr>
        <p:sp>
          <p:nvSpPr>
            <p:cNvPr id="11" name="object 11"/>
            <p:cNvSpPr/>
            <p:nvPr/>
          </p:nvSpPr>
          <p:spPr>
            <a:xfrm>
              <a:off x="2641853" y="1232154"/>
              <a:ext cx="1719580" cy="1731645"/>
            </a:xfrm>
            <a:custGeom>
              <a:avLst/>
              <a:gdLst/>
              <a:ahLst/>
              <a:cxnLst/>
              <a:rect l="l" t="t" r="r" b="b"/>
              <a:pathLst>
                <a:path w="1719579" h="1731645">
                  <a:moveTo>
                    <a:pt x="859535" y="0"/>
                  </a:moveTo>
                  <a:lnTo>
                    <a:pt x="859535" y="259715"/>
                  </a:lnTo>
                  <a:lnTo>
                    <a:pt x="0" y="259715"/>
                  </a:lnTo>
                  <a:lnTo>
                    <a:pt x="0" y="1471549"/>
                  </a:lnTo>
                  <a:lnTo>
                    <a:pt x="859535" y="1471549"/>
                  </a:lnTo>
                  <a:lnTo>
                    <a:pt x="859535" y="1731264"/>
                  </a:lnTo>
                  <a:lnTo>
                    <a:pt x="1719071" y="865632"/>
                  </a:lnTo>
                  <a:lnTo>
                    <a:pt x="859535" y="0"/>
                  </a:lnTo>
                  <a:close/>
                </a:path>
              </a:pathLst>
            </a:custGeom>
            <a:solidFill>
              <a:srgbClr val="002573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2641853" y="1232154"/>
              <a:ext cx="1719580" cy="1731645"/>
            </a:xfrm>
            <a:custGeom>
              <a:avLst/>
              <a:gdLst/>
              <a:ahLst/>
              <a:cxnLst/>
              <a:rect l="l" t="t" r="r" b="b"/>
              <a:pathLst>
                <a:path w="1719579" h="1731645">
                  <a:moveTo>
                    <a:pt x="0" y="259715"/>
                  </a:moveTo>
                  <a:lnTo>
                    <a:pt x="859535" y="259715"/>
                  </a:lnTo>
                  <a:lnTo>
                    <a:pt x="859535" y="0"/>
                  </a:lnTo>
                  <a:lnTo>
                    <a:pt x="1719071" y="865632"/>
                  </a:lnTo>
                  <a:lnTo>
                    <a:pt x="859535" y="1731264"/>
                  </a:lnTo>
                  <a:lnTo>
                    <a:pt x="859535" y="1471549"/>
                  </a:lnTo>
                  <a:lnTo>
                    <a:pt x="0" y="1471549"/>
                  </a:lnTo>
                  <a:lnTo>
                    <a:pt x="0" y="259715"/>
                  </a:lnTo>
                  <a:close/>
                </a:path>
              </a:pathLst>
            </a:custGeom>
            <a:ln w="25908">
              <a:solidFill>
                <a:srgbClr val="D4E2E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678427" y="1814322"/>
            <a:ext cx="682625" cy="545465"/>
          </a:xfrm>
          <a:prstGeom prst="rect">
            <a:avLst/>
          </a:prstGeom>
        </p:spPr>
        <p:txBody>
          <a:bodyPr vert="horz" wrap="square" lIns="0" tIns="26670" rIns="0" bIns="0" rtlCol="0">
            <a:spAutoFit/>
          </a:bodyPr>
          <a:lstStyle/>
          <a:p>
            <a:pPr marL="12700" marR="5080" indent="2540" algn="ctr">
              <a:lnSpc>
                <a:spcPct val="92100"/>
              </a:lnSpc>
              <a:spcBef>
                <a:spcPts val="210"/>
              </a:spcBef>
            </a:pP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Growth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 p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o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t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en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t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ia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l  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sectors</a:t>
            </a:r>
            <a:endParaRPr sz="1200">
              <a:latin typeface="Century Gothic"/>
              <a:cs typeface="Century Gothic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3721607" y="1655065"/>
            <a:ext cx="887094" cy="885825"/>
            <a:chOff x="2197607" y="1655064"/>
            <a:chExt cx="887094" cy="885825"/>
          </a:xfrm>
        </p:grpSpPr>
        <p:sp>
          <p:nvSpPr>
            <p:cNvPr id="15" name="object 15"/>
            <p:cNvSpPr/>
            <p:nvPr/>
          </p:nvSpPr>
          <p:spPr>
            <a:xfrm>
              <a:off x="2210561" y="1668018"/>
              <a:ext cx="861060" cy="859790"/>
            </a:xfrm>
            <a:custGeom>
              <a:avLst/>
              <a:gdLst/>
              <a:ahLst/>
              <a:cxnLst/>
              <a:rect l="l" t="t" r="r" b="b"/>
              <a:pathLst>
                <a:path w="861060" h="859789">
                  <a:moveTo>
                    <a:pt x="430530" y="0"/>
                  </a:moveTo>
                  <a:lnTo>
                    <a:pt x="383624" y="2521"/>
                  </a:lnTo>
                  <a:lnTo>
                    <a:pt x="338180" y="9912"/>
                  </a:lnTo>
                  <a:lnTo>
                    <a:pt x="294461" y="21909"/>
                  </a:lnTo>
                  <a:lnTo>
                    <a:pt x="252729" y="38250"/>
                  </a:lnTo>
                  <a:lnTo>
                    <a:pt x="213247" y="58674"/>
                  </a:lnTo>
                  <a:lnTo>
                    <a:pt x="176278" y="82917"/>
                  </a:lnTo>
                  <a:lnTo>
                    <a:pt x="142084" y="110719"/>
                  </a:lnTo>
                  <a:lnTo>
                    <a:pt x="110929" y="141817"/>
                  </a:lnTo>
                  <a:lnTo>
                    <a:pt x="83076" y="175948"/>
                  </a:lnTo>
                  <a:lnTo>
                    <a:pt x="58786" y="212851"/>
                  </a:lnTo>
                  <a:lnTo>
                    <a:pt x="38324" y="252264"/>
                  </a:lnTo>
                  <a:lnTo>
                    <a:pt x="21951" y="293924"/>
                  </a:lnTo>
                  <a:lnTo>
                    <a:pt x="9931" y="337570"/>
                  </a:lnTo>
                  <a:lnTo>
                    <a:pt x="2526" y="382938"/>
                  </a:lnTo>
                  <a:lnTo>
                    <a:pt x="0" y="429768"/>
                  </a:lnTo>
                  <a:lnTo>
                    <a:pt x="2526" y="476597"/>
                  </a:lnTo>
                  <a:lnTo>
                    <a:pt x="9931" y="521965"/>
                  </a:lnTo>
                  <a:lnTo>
                    <a:pt x="21951" y="565611"/>
                  </a:lnTo>
                  <a:lnTo>
                    <a:pt x="38324" y="607271"/>
                  </a:lnTo>
                  <a:lnTo>
                    <a:pt x="58786" y="646684"/>
                  </a:lnTo>
                  <a:lnTo>
                    <a:pt x="83076" y="683587"/>
                  </a:lnTo>
                  <a:lnTo>
                    <a:pt x="110929" y="717718"/>
                  </a:lnTo>
                  <a:lnTo>
                    <a:pt x="142084" y="748816"/>
                  </a:lnTo>
                  <a:lnTo>
                    <a:pt x="176278" y="776618"/>
                  </a:lnTo>
                  <a:lnTo>
                    <a:pt x="213247" y="800862"/>
                  </a:lnTo>
                  <a:lnTo>
                    <a:pt x="252729" y="821285"/>
                  </a:lnTo>
                  <a:lnTo>
                    <a:pt x="294461" y="837626"/>
                  </a:lnTo>
                  <a:lnTo>
                    <a:pt x="338180" y="849623"/>
                  </a:lnTo>
                  <a:lnTo>
                    <a:pt x="383624" y="857014"/>
                  </a:lnTo>
                  <a:lnTo>
                    <a:pt x="430530" y="859536"/>
                  </a:lnTo>
                  <a:lnTo>
                    <a:pt x="477435" y="857014"/>
                  </a:lnTo>
                  <a:lnTo>
                    <a:pt x="522879" y="849623"/>
                  </a:lnTo>
                  <a:lnTo>
                    <a:pt x="566598" y="837626"/>
                  </a:lnTo>
                  <a:lnTo>
                    <a:pt x="608330" y="821285"/>
                  </a:lnTo>
                  <a:lnTo>
                    <a:pt x="647812" y="800862"/>
                  </a:lnTo>
                  <a:lnTo>
                    <a:pt x="684781" y="776618"/>
                  </a:lnTo>
                  <a:lnTo>
                    <a:pt x="718975" y="748816"/>
                  </a:lnTo>
                  <a:lnTo>
                    <a:pt x="750130" y="717718"/>
                  </a:lnTo>
                  <a:lnTo>
                    <a:pt x="777983" y="683587"/>
                  </a:lnTo>
                  <a:lnTo>
                    <a:pt x="802273" y="646684"/>
                  </a:lnTo>
                  <a:lnTo>
                    <a:pt x="822735" y="607271"/>
                  </a:lnTo>
                  <a:lnTo>
                    <a:pt x="839108" y="565611"/>
                  </a:lnTo>
                  <a:lnTo>
                    <a:pt x="851128" y="521965"/>
                  </a:lnTo>
                  <a:lnTo>
                    <a:pt x="858533" y="476597"/>
                  </a:lnTo>
                  <a:lnTo>
                    <a:pt x="861060" y="429768"/>
                  </a:lnTo>
                  <a:lnTo>
                    <a:pt x="858533" y="382938"/>
                  </a:lnTo>
                  <a:lnTo>
                    <a:pt x="851128" y="337570"/>
                  </a:lnTo>
                  <a:lnTo>
                    <a:pt x="839108" y="293924"/>
                  </a:lnTo>
                  <a:lnTo>
                    <a:pt x="822735" y="252264"/>
                  </a:lnTo>
                  <a:lnTo>
                    <a:pt x="802273" y="212851"/>
                  </a:lnTo>
                  <a:lnTo>
                    <a:pt x="777983" y="175948"/>
                  </a:lnTo>
                  <a:lnTo>
                    <a:pt x="750130" y="141817"/>
                  </a:lnTo>
                  <a:lnTo>
                    <a:pt x="718975" y="110719"/>
                  </a:lnTo>
                  <a:lnTo>
                    <a:pt x="684781" y="82917"/>
                  </a:lnTo>
                  <a:lnTo>
                    <a:pt x="647812" y="58674"/>
                  </a:lnTo>
                  <a:lnTo>
                    <a:pt x="608330" y="38250"/>
                  </a:lnTo>
                  <a:lnTo>
                    <a:pt x="566598" y="21909"/>
                  </a:lnTo>
                  <a:lnTo>
                    <a:pt x="522879" y="9912"/>
                  </a:lnTo>
                  <a:lnTo>
                    <a:pt x="477435" y="2521"/>
                  </a:lnTo>
                  <a:lnTo>
                    <a:pt x="430530" y="0"/>
                  </a:lnTo>
                  <a:close/>
                </a:path>
              </a:pathLst>
            </a:custGeom>
            <a:solidFill>
              <a:srgbClr val="D1730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2210561" y="1668018"/>
              <a:ext cx="861060" cy="859790"/>
            </a:xfrm>
            <a:custGeom>
              <a:avLst/>
              <a:gdLst/>
              <a:ahLst/>
              <a:cxnLst/>
              <a:rect l="l" t="t" r="r" b="b"/>
              <a:pathLst>
                <a:path w="861060" h="859789">
                  <a:moveTo>
                    <a:pt x="0" y="429768"/>
                  </a:moveTo>
                  <a:lnTo>
                    <a:pt x="2526" y="382938"/>
                  </a:lnTo>
                  <a:lnTo>
                    <a:pt x="9931" y="337570"/>
                  </a:lnTo>
                  <a:lnTo>
                    <a:pt x="21951" y="293924"/>
                  </a:lnTo>
                  <a:lnTo>
                    <a:pt x="38324" y="252264"/>
                  </a:lnTo>
                  <a:lnTo>
                    <a:pt x="58786" y="212851"/>
                  </a:lnTo>
                  <a:lnTo>
                    <a:pt x="83076" y="175948"/>
                  </a:lnTo>
                  <a:lnTo>
                    <a:pt x="110929" y="141817"/>
                  </a:lnTo>
                  <a:lnTo>
                    <a:pt x="142084" y="110719"/>
                  </a:lnTo>
                  <a:lnTo>
                    <a:pt x="176278" y="82917"/>
                  </a:lnTo>
                  <a:lnTo>
                    <a:pt x="213247" y="58674"/>
                  </a:lnTo>
                  <a:lnTo>
                    <a:pt x="252729" y="38250"/>
                  </a:lnTo>
                  <a:lnTo>
                    <a:pt x="294461" y="21909"/>
                  </a:lnTo>
                  <a:lnTo>
                    <a:pt x="338180" y="9912"/>
                  </a:lnTo>
                  <a:lnTo>
                    <a:pt x="383624" y="2521"/>
                  </a:lnTo>
                  <a:lnTo>
                    <a:pt x="430530" y="0"/>
                  </a:lnTo>
                  <a:lnTo>
                    <a:pt x="477435" y="2521"/>
                  </a:lnTo>
                  <a:lnTo>
                    <a:pt x="522879" y="9912"/>
                  </a:lnTo>
                  <a:lnTo>
                    <a:pt x="566598" y="21909"/>
                  </a:lnTo>
                  <a:lnTo>
                    <a:pt x="608330" y="38250"/>
                  </a:lnTo>
                  <a:lnTo>
                    <a:pt x="647812" y="58674"/>
                  </a:lnTo>
                  <a:lnTo>
                    <a:pt x="684781" y="82917"/>
                  </a:lnTo>
                  <a:lnTo>
                    <a:pt x="718975" y="110719"/>
                  </a:lnTo>
                  <a:lnTo>
                    <a:pt x="750130" y="141817"/>
                  </a:lnTo>
                  <a:lnTo>
                    <a:pt x="777983" y="175948"/>
                  </a:lnTo>
                  <a:lnTo>
                    <a:pt x="802273" y="212851"/>
                  </a:lnTo>
                  <a:lnTo>
                    <a:pt x="822735" y="252264"/>
                  </a:lnTo>
                  <a:lnTo>
                    <a:pt x="839108" y="293924"/>
                  </a:lnTo>
                  <a:lnTo>
                    <a:pt x="851128" y="337570"/>
                  </a:lnTo>
                  <a:lnTo>
                    <a:pt x="858533" y="382938"/>
                  </a:lnTo>
                  <a:lnTo>
                    <a:pt x="861060" y="429768"/>
                  </a:lnTo>
                  <a:lnTo>
                    <a:pt x="858533" y="476597"/>
                  </a:lnTo>
                  <a:lnTo>
                    <a:pt x="851128" y="521965"/>
                  </a:lnTo>
                  <a:lnTo>
                    <a:pt x="839108" y="565611"/>
                  </a:lnTo>
                  <a:lnTo>
                    <a:pt x="822735" y="607271"/>
                  </a:lnTo>
                  <a:lnTo>
                    <a:pt x="802273" y="646684"/>
                  </a:lnTo>
                  <a:lnTo>
                    <a:pt x="777983" y="683587"/>
                  </a:lnTo>
                  <a:lnTo>
                    <a:pt x="750130" y="717718"/>
                  </a:lnTo>
                  <a:lnTo>
                    <a:pt x="718975" y="748816"/>
                  </a:lnTo>
                  <a:lnTo>
                    <a:pt x="684781" y="776618"/>
                  </a:lnTo>
                  <a:lnTo>
                    <a:pt x="647812" y="800862"/>
                  </a:lnTo>
                  <a:lnTo>
                    <a:pt x="608330" y="821285"/>
                  </a:lnTo>
                  <a:lnTo>
                    <a:pt x="566598" y="837626"/>
                  </a:lnTo>
                  <a:lnTo>
                    <a:pt x="522879" y="849623"/>
                  </a:lnTo>
                  <a:lnTo>
                    <a:pt x="477435" y="857014"/>
                  </a:lnTo>
                  <a:lnTo>
                    <a:pt x="430530" y="859536"/>
                  </a:lnTo>
                  <a:lnTo>
                    <a:pt x="383624" y="857014"/>
                  </a:lnTo>
                  <a:lnTo>
                    <a:pt x="338180" y="849623"/>
                  </a:lnTo>
                  <a:lnTo>
                    <a:pt x="294461" y="837626"/>
                  </a:lnTo>
                  <a:lnTo>
                    <a:pt x="252729" y="821285"/>
                  </a:lnTo>
                  <a:lnTo>
                    <a:pt x="213247" y="800862"/>
                  </a:lnTo>
                  <a:lnTo>
                    <a:pt x="176278" y="776618"/>
                  </a:lnTo>
                  <a:lnTo>
                    <a:pt x="142084" y="748816"/>
                  </a:lnTo>
                  <a:lnTo>
                    <a:pt x="110929" y="717718"/>
                  </a:lnTo>
                  <a:lnTo>
                    <a:pt x="83076" y="683587"/>
                  </a:lnTo>
                  <a:lnTo>
                    <a:pt x="58786" y="646684"/>
                  </a:lnTo>
                  <a:lnTo>
                    <a:pt x="38324" y="607271"/>
                  </a:lnTo>
                  <a:lnTo>
                    <a:pt x="21951" y="565611"/>
                  </a:lnTo>
                  <a:lnTo>
                    <a:pt x="9931" y="521965"/>
                  </a:lnTo>
                  <a:lnTo>
                    <a:pt x="2526" y="476597"/>
                  </a:lnTo>
                  <a:lnTo>
                    <a:pt x="0" y="429768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3856990" y="1965452"/>
            <a:ext cx="615315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dirty="0">
                <a:solidFill>
                  <a:srgbClr val="FFFFFF"/>
                </a:solidFill>
                <a:latin typeface="Century Gothic"/>
                <a:cs typeface="Century Gothic"/>
              </a:rPr>
              <a:t>Khulisa</a:t>
            </a:r>
            <a:endParaRPr sz="1400">
              <a:latin typeface="Century Gothic"/>
              <a:cs typeface="Century Gothic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254433" y="1219136"/>
            <a:ext cx="2059305" cy="1757680"/>
            <a:chOff x="4730432" y="1219136"/>
            <a:chExt cx="2059305" cy="1757680"/>
          </a:xfrm>
        </p:grpSpPr>
        <p:sp>
          <p:nvSpPr>
            <p:cNvPr id="19" name="object 19"/>
            <p:cNvSpPr/>
            <p:nvPr/>
          </p:nvSpPr>
          <p:spPr>
            <a:xfrm>
              <a:off x="4743450" y="1232154"/>
              <a:ext cx="2033270" cy="1731645"/>
            </a:xfrm>
            <a:custGeom>
              <a:avLst/>
              <a:gdLst/>
              <a:ahLst/>
              <a:cxnLst/>
              <a:rect l="l" t="t" r="r" b="b"/>
              <a:pathLst>
                <a:path w="2033270" h="1731645">
                  <a:moveTo>
                    <a:pt x="1167384" y="0"/>
                  </a:moveTo>
                  <a:lnTo>
                    <a:pt x="1167384" y="259715"/>
                  </a:lnTo>
                  <a:lnTo>
                    <a:pt x="0" y="259715"/>
                  </a:lnTo>
                  <a:lnTo>
                    <a:pt x="0" y="1471549"/>
                  </a:lnTo>
                  <a:lnTo>
                    <a:pt x="1167384" y="1471549"/>
                  </a:lnTo>
                  <a:lnTo>
                    <a:pt x="1167384" y="1731264"/>
                  </a:lnTo>
                  <a:lnTo>
                    <a:pt x="2033016" y="865632"/>
                  </a:lnTo>
                  <a:lnTo>
                    <a:pt x="1167384" y="0"/>
                  </a:lnTo>
                  <a:close/>
                </a:path>
              </a:pathLst>
            </a:custGeom>
            <a:solidFill>
              <a:srgbClr val="002573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4743450" y="1232154"/>
              <a:ext cx="2033270" cy="1731645"/>
            </a:xfrm>
            <a:custGeom>
              <a:avLst/>
              <a:gdLst/>
              <a:ahLst/>
              <a:cxnLst/>
              <a:rect l="l" t="t" r="r" b="b"/>
              <a:pathLst>
                <a:path w="2033270" h="1731645">
                  <a:moveTo>
                    <a:pt x="0" y="259715"/>
                  </a:moveTo>
                  <a:lnTo>
                    <a:pt x="1167384" y="259715"/>
                  </a:lnTo>
                  <a:lnTo>
                    <a:pt x="1167384" y="0"/>
                  </a:lnTo>
                  <a:lnTo>
                    <a:pt x="2033016" y="865632"/>
                  </a:lnTo>
                  <a:lnTo>
                    <a:pt x="1167384" y="1731264"/>
                  </a:lnTo>
                  <a:lnTo>
                    <a:pt x="1167384" y="1471549"/>
                  </a:lnTo>
                  <a:lnTo>
                    <a:pt x="0" y="1471549"/>
                  </a:lnTo>
                  <a:lnTo>
                    <a:pt x="0" y="259715"/>
                  </a:lnTo>
                  <a:close/>
                </a:path>
              </a:pathLst>
            </a:custGeom>
            <a:ln w="25908">
              <a:solidFill>
                <a:srgbClr val="D4E2E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6793229" y="1617979"/>
            <a:ext cx="950594" cy="938530"/>
          </a:xfrm>
          <a:prstGeom prst="rect">
            <a:avLst/>
          </a:prstGeom>
        </p:spPr>
        <p:txBody>
          <a:bodyPr vert="horz" wrap="square" lIns="0" tIns="26670" rIns="0" bIns="0" rtlCol="0">
            <a:spAutoFit/>
          </a:bodyPr>
          <a:lstStyle/>
          <a:p>
            <a:pPr marL="127000" marR="5080" indent="-114300">
              <a:lnSpc>
                <a:spcPct val="92100"/>
              </a:lnSpc>
              <a:spcBef>
                <a:spcPts val="210"/>
              </a:spcBef>
              <a:buChar char="•"/>
              <a:tabLst>
                <a:tab pos="127000" algn="l"/>
              </a:tabLst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Exports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and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25" dirty="0">
                <a:solidFill>
                  <a:srgbClr val="FFFFFF"/>
                </a:solidFill>
                <a:latin typeface="Century Gothic"/>
                <a:cs typeface="Century Gothic"/>
              </a:rPr>
              <a:t>I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n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v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es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t</a:t>
            </a:r>
            <a:r>
              <a:rPr sz="1200" spc="10" dirty="0">
                <a:solidFill>
                  <a:srgbClr val="FFFFFF"/>
                </a:solidFill>
                <a:latin typeface="Century Gothic"/>
                <a:cs typeface="Century Gothic"/>
              </a:rPr>
              <a:t>m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ent</a:t>
            </a:r>
            <a:endParaRPr sz="1200">
              <a:latin typeface="Century Gothic"/>
              <a:cs typeface="Century Gothic"/>
            </a:endParaRPr>
          </a:p>
          <a:p>
            <a:pPr marL="127000" indent="-114300">
              <a:spcBef>
                <a:spcPts val="110"/>
              </a:spcBef>
              <a:buChar char="•"/>
              <a:tabLst>
                <a:tab pos="127000" algn="l"/>
              </a:tabLst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Energy</a:t>
            </a:r>
            <a:endParaRPr sz="1200">
              <a:latin typeface="Century Gothic"/>
              <a:cs typeface="Century Gothic"/>
            </a:endParaRPr>
          </a:p>
          <a:p>
            <a:pPr marL="127000" indent="-114300">
              <a:spcBef>
                <a:spcPts val="110"/>
              </a:spcBef>
              <a:buChar char="•"/>
              <a:tabLst>
                <a:tab pos="127000" algn="l"/>
              </a:tabLst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EoDB</a:t>
            </a:r>
            <a:endParaRPr sz="1200">
              <a:latin typeface="Century Gothic"/>
              <a:cs typeface="Century Gothic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5980176" y="1655065"/>
            <a:ext cx="887094" cy="885825"/>
            <a:chOff x="4456176" y="1655064"/>
            <a:chExt cx="887094" cy="885825"/>
          </a:xfrm>
        </p:grpSpPr>
        <p:sp>
          <p:nvSpPr>
            <p:cNvPr id="23" name="object 23"/>
            <p:cNvSpPr/>
            <p:nvPr/>
          </p:nvSpPr>
          <p:spPr>
            <a:xfrm>
              <a:off x="4469130" y="1668018"/>
              <a:ext cx="861060" cy="859790"/>
            </a:xfrm>
            <a:custGeom>
              <a:avLst/>
              <a:gdLst/>
              <a:ahLst/>
              <a:cxnLst/>
              <a:rect l="l" t="t" r="r" b="b"/>
              <a:pathLst>
                <a:path w="861060" h="859789">
                  <a:moveTo>
                    <a:pt x="430530" y="0"/>
                  </a:moveTo>
                  <a:lnTo>
                    <a:pt x="383624" y="2521"/>
                  </a:lnTo>
                  <a:lnTo>
                    <a:pt x="338180" y="9912"/>
                  </a:lnTo>
                  <a:lnTo>
                    <a:pt x="294461" y="21909"/>
                  </a:lnTo>
                  <a:lnTo>
                    <a:pt x="252729" y="38250"/>
                  </a:lnTo>
                  <a:lnTo>
                    <a:pt x="213247" y="58674"/>
                  </a:lnTo>
                  <a:lnTo>
                    <a:pt x="176278" y="82917"/>
                  </a:lnTo>
                  <a:lnTo>
                    <a:pt x="142084" y="110719"/>
                  </a:lnTo>
                  <a:lnTo>
                    <a:pt x="110929" y="141817"/>
                  </a:lnTo>
                  <a:lnTo>
                    <a:pt x="83076" y="175948"/>
                  </a:lnTo>
                  <a:lnTo>
                    <a:pt x="58786" y="212851"/>
                  </a:lnTo>
                  <a:lnTo>
                    <a:pt x="38324" y="252264"/>
                  </a:lnTo>
                  <a:lnTo>
                    <a:pt x="21951" y="293924"/>
                  </a:lnTo>
                  <a:lnTo>
                    <a:pt x="9931" y="337570"/>
                  </a:lnTo>
                  <a:lnTo>
                    <a:pt x="2526" y="382938"/>
                  </a:lnTo>
                  <a:lnTo>
                    <a:pt x="0" y="429768"/>
                  </a:lnTo>
                  <a:lnTo>
                    <a:pt x="2526" y="476597"/>
                  </a:lnTo>
                  <a:lnTo>
                    <a:pt x="9931" y="521965"/>
                  </a:lnTo>
                  <a:lnTo>
                    <a:pt x="21951" y="565611"/>
                  </a:lnTo>
                  <a:lnTo>
                    <a:pt x="38324" y="607271"/>
                  </a:lnTo>
                  <a:lnTo>
                    <a:pt x="58786" y="646684"/>
                  </a:lnTo>
                  <a:lnTo>
                    <a:pt x="83076" y="683587"/>
                  </a:lnTo>
                  <a:lnTo>
                    <a:pt x="110929" y="717718"/>
                  </a:lnTo>
                  <a:lnTo>
                    <a:pt x="142084" y="748816"/>
                  </a:lnTo>
                  <a:lnTo>
                    <a:pt x="176278" y="776618"/>
                  </a:lnTo>
                  <a:lnTo>
                    <a:pt x="213247" y="800862"/>
                  </a:lnTo>
                  <a:lnTo>
                    <a:pt x="252729" y="821285"/>
                  </a:lnTo>
                  <a:lnTo>
                    <a:pt x="294461" y="837626"/>
                  </a:lnTo>
                  <a:lnTo>
                    <a:pt x="338180" y="849623"/>
                  </a:lnTo>
                  <a:lnTo>
                    <a:pt x="383624" y="857014"/>
                  </a:lnTo>
                  <a:lnTo>
                    <a:pt x="430530" y="859536"/>
                  </a:lnTo>
                  <a:lnTo>
                    <a:pt x="477435" y="857014"/>
                  </a:lnTo>
                  <a:lnTo>
                    <a:pt x="522879" y="849623"/>
                  </a:lnTo>
                  <a:lnTo>
                    <a:pt x="566598" y="837626"/>
                  </a:lnTo>
                  <a:lnTo>
                    <a:pt x="608330" y="821285"/>
                  </a:lnTo>
                  <a:lnTo>
                    <a:pt x="647812" y="800862"/>
                  </a:lnTo>
                  <a:lnTo>
                    <a:pt x="684781" y="776618"/>
                  </a:lnTo>
                  <a:lnTo>
                    <a:pt x="718975" y="748816"/>
                  </a:lnTo>
                  <a:lnTo>
                    <a:pt x="750130" y="717718"/>
                  </a:lnTo>
                  <a:lnTo>
                    <a:pt x="777983" y="683587"/>
                  </a:lnTo>
                  <a:lnTo>
                    <a:pt x="802273" y="646684"/>
                  </a:lnTo>
                  <a:lnTo>
                    <a:pt x="822735" y="607271"/>
                  </a:lnTo>
                  <a:lnTo>
                    <a:pt x="839108" y="565611"/>
                  </a:lnTo>
                  <a:lnTo>
                    <a:pt x="851128" y="521965"/>
                  </a:lnTo>
                  <a:lnTo>
                    <a:pt x="858533" y="476597"/>
                  </a:lnTo>
                  <a:lnTo>
                    <a:pt x="861060" y="429768"/>
                  </a:lnTo>
                  <a:lnTo>
                    <a:pt x="858533" y="382938"/>
                  </a:lnTo>
                  <a:lnTo>
                    <a:pt x="851128" y="337570"/>
                  </a:lnTo>
                  <a:lnTo>
                    <a:pt x="839108" y="293924"/>
                  </a:lnTo>
                  <a:lnTo>
                    <a:pt x="822735" y="252264"/>
                  </a:lnTo>
                  <a:lnTo>
                    <a:pt x="802273" y="212851"/>
                  </a:lnTo>
                  <a:lnTo>
                    <a:pt x="777983" y="175948"/>
                  </a:lnTo>
                  <a:lnTo>
                    <a:pt x="750130" y="141817"/>
                  </a:lnTo>
                  <a:lnTo>
                    <a:pt x="718975" y="110719"/>
                  </a:lnTo>
                  <a:lnTo>
                    <a:pt x="684781" y="82917"/>
                  </a:lnTo>
                  <a:lnTo>
                    <a:pt x="647812" y="58674"/>
                  </a:lnTo>
                  <a:lnTo>
                    <a:pt x="608330" y="38250"/>
                  </a:lnTo>
                  <a:lnTo>
                    <a:pt x="566598" y="21909"/>
                  </a:lnTo>
                  <a:lnTo>
                    <a:pt x="522879" y="9912"/>
                  </a:lnTo>
                  <a:lnTo>
                    <a:pt x="477435" y="2521"/>
                  </a:lnTo>
                  <a:lnTo>
                    <a:pt x="430530" y="0"/>
                  </a:lnTo>
                  <a:close/>
                </a:path>
              </a:pathLst>
            </a:custGeom>
            <a:solidFill>
              <a:srgbClr val="D1730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4469130" y="1668018"/>
              <a:ext cx="861060" cy="859790"/>
            </a:xfrm>
            <a:custGeom>
              <a:avLst/>
              <a:gdLst/>
              <a:ahLst/>
              <a:cxnLst/>
              <a:rect l="l" t="t" r="r" b="b"/>
              <a:pathLst>
                <a:path w="861060" h="859789">
                  <a:moveTo>
                    <a:pt x="0" y="429768"/>
                  </a:moveTo>
                  <a:lnTo>
                    <a:pt x="2526" y="382938"/>
                  </a:lnTo>
                  <a:lnTo>
                    <a:pt x="9931" y="337570"/>
                  </a:lnTo>
                  <a:lnTo>
                    <a:pt x="21951" y="293924"/>
                  </a:lnTo>
                  <a:lnTo>
                    <a:pt x="38324" y="252264"/>
                  </a:lnTo>
                  <a:lnTo>
                    <a:pt x="58786" y="212851"/>
                  </a:lnTo>
                  <a:lnTo>
                    <a:pt x="83076" y="175948"/>
                  </a:lnTo>
                  <a:lnTo>
                    <a:pt x="110929" y="141817"/>
                  </a:lnTo>
                  <a:lnTo>
                    <a:pt x="142084" y="110719"/>
                  </a:lnTo>
                  <a:lnTo>
                    <a:pt x="176278" y="82917"/>
                  </a:lnTo>
                  <a:lnTo>
                    <a:pt x="213247" y="58674"/>
                  </a:lnTo>
                  <a:lnTo>
                    <a:pt x="252729" y="38250"/>
                  </a:lnTo>
                  <a:lnTo>
                    <a:pt x="294461" y="21909"/>
                  </a:lnTo>
                  <a:lnTo>
                    <a:pt x="338180" y="9912"/>
                  </a:lnTo>
                  <a:lnTo>
                    <a:pt x="383624" y="2521"/>
                  </a:lnTo>
                  <a:lnTo>
                    <a:pt x="430530" y="0"/>
                  </a:lnTo>
                  <a:lnTo>
                    <a:pt x="477435" y="2521"/>
                  </a:lnTo>
                  <a:lnTo>
                    <a:pt x="522879" y="9912"/>
                  </a:lnTo>
                  <a:lnTo>
                    <a:pt x="566598" y="21909"/>
                  </a:lnTo>
                  <a:lnTo>
                    <a:pt x="608330" y="38250"/>
                  </a:lnTo>
                  <a:lnTo>
                    <a:pt x="647812" y="58674"/>
                  </a:lnTo>
                  <a:lnTo>
                    <a:pt x="684781" y="82917"/>
                  </a:lnTo>
                  <a:lnTo>
                    <a:pt x="718975" y="110719"/>
                  </a:lnTo>
                  <a:lnTo>
                    <a:pt x="750130" y="141817"/>
                  </a:lnTo>
                  <a:lnTo>
                    <a:pt x="777983" y="175948"/>
                  </a:lnTo>
                  <a:lnTo>
                    <a:pt x="802273" y="212851"/>
                  </a:lnTo>
                  <a:lnTo>
                    <a:pt x="822735" y="252264"/>
                  </a:lnTo>
                  <a:lnTo>
                    <a:pt x="839108" y="293924"/>
                  </a:lnTo>
                  <a:lnTo>
                    <a:pt x="851128" y="337570"/>
                  </a:lnTo>
                  <a:lnTo>
                    <a:pt x="858533" y="382938"/>
                  </a:lnTo>
                  <a:lnTo>
                    <a:pt x="861060" y="429768"/>
                  </a:lnTo>
                  <a:lnTo>
                    <a:pt x="858533" y="476597"/>
                  </a:lnTo>
                  <a:lnTo>
                    <a:pt x="851128" y="521965"/>
                  </a:lnTo>
                  <a:lnTo>
                    <a:pt x="839108" y="565611"/>
                  </a:lnTo>
                  <a:lnTo>
                    <a:pt x="822735" y="607271"/>
                  </a:lnTo>
                  <a:lnTo>
                    <a:pt x="802273" y="646684"/>
                  </a:lnTo>
                  <a:lnTo>
                    <a:pt x="777983" y="683587"/>
                  </a:lnTo>
                  <a:lnTo>
                    <a:pt x="750130" y="717718"/>
                  </a:lnTo>
                  <a:lnTo>
                    <a:pt x="718975" y="748816"/>
                  </a:lnTo>
                  <a:lnTo>
                    <a:pt x="684781" y="776618"/>
                  </a:lnTo>
                  <a:lnTo>
                    <a:pt x="647812" y="800862"/>
                  </a:lnTo>
                  <a:lnTo>
                    <a:pt x="608330" y="821285"/>
                  </a:lnTo>
                  <a:lnTo>
                    <a:pt x="566598" y="837626"/>
                  </a:lnTo>
                  <a:lnTo>
                    <a:pt x="522879" y="849623"/>
                  </a:lnTo>
                  <a:lnTo>
                    <a:pt x="477435" y="857014"/>
                  </a:lnTo>
                  <a:lnTo>
                    <a:pt x="430530" y="859536"/>
                  </a:lnTo>
                  <a:lnTo>
                    <a:pt x="383624" y="857014"/>
                  </a:lnTo>
                  <a:lnTo>
                    <a:pt x="338180" y="849623"/>
                  </a:lnTo>
                  <a:lnTo>
                    <a:pt x="294461" y="837626"/>
                  </a:lnTo>
                  <a:lnTo>
                    <a:pt x="252729" y="821285"/>
                  </a:lnTo>
                  <a:lnTo>
                    <a:pt x="213247" y="800862"/>
                  </a:lnTo>
                  <a:lnTo>
                    <a:pt x="176278" y="776618"/>
                  </a:lnTo>
                  <a:lnTo>
                    <a:pt x="142084" y="748816"/>
                  </a:lnTo>
                  <a:lnTo>
                    <a:pt x="110929" y="717718"/>
                  </a:lnTo>
                  <a:lnTo>
                    <a:pt x="83076" y="683587"/>
                  </a:lnTo>
                  <a:lnTo>
                    <a:pt x="58786" y="646684"/>
                  </a:lnTo>
                  <a:lnTo>
                    <a:pt x="38324" y="607271"/>
                  </a:lnTo>
                  <a:lnTo>
                    <a:pt x="21951" y="565611"/>
                  </a:lnTo>
                  <a:lnTo>
                    <a:pt x="9931" y="521965"/>
                  </a:lnTo>
                  <a:lnTo>
                    <a:pt x="2526" y="476597"/>
                  </a:lnTo>
                  <a:lnTo>
                    <a:pt x="0" y="429768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6225285" y="1965452"/>
            <a:ext cx="39624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sz="1400" spc="-15" dirty="0">
                <a:solidFill>
                  <a:srgbClr val="FFFFFF"/>
                </a:solidFill>
                <a:latin typeface="Century Gothic"/>
                <a:cs typeface="Century Gothic"/>
              </a:rPr>
              <a:t>V</a:t>
            </a:r>
            <a:r>
              <a:rPr sz="1400" spc="15" dirty="0">
                <a:solidFill>
                  <a:srgbClr val="FFFFFF"/>
                </a:solidFill>
                <a:latin typeface="Century Gothic"/>
                <a:cs typeface="Century Gothic"/>
              </a:rPr>
              <a:t>I</a:t>
            </a:r>
            <a:r>
              <a:rPr sz="1400" dirty="0">
                <a:solidFill>
                  <a:srgbClr val="FFFFFF"/>
                </a:solidFill>
                <a:latin typeface="Century Gothic"/>
                <a:cs typeface="Century Gothic"/>
              </a:rPr>
              <a:t>P2</a:t>
            </a:r>
            <a:endParaRPr sz="1400">
              <a:latin typeface="Century Gothic"/>
              <a:cs typeface="Century Gothic"/>
            </a:endParaRPr>
          </a:p>
        </p:txBody>
      </p:sp>
      <p:grpSp>
        <p:nvGrpSpPr>
          <p:cNvPr id="26" name="object 26"/>
          <p:cNvGrpSpPr/>
          <p:nvPr/>
        </p:nvGrpSpPr>
        <p:grpSpPr>
          <a:xfrm>
            <a:off x="8889428" y="1226757"/>
            <a:ext cx="1789430" cy="1742439"/>
            <a:chOff x="7365428" y="1226756"/>
            <a:chExt cx="1789430" cy="1742439"/>
          </a:xfrm>
        </p:grpSpPr>
        <p:sp>
          <p:nvSpPr>
            <p:cNvPr id="27" name="object 27"/>
            <p:cNvSpPr/>
            <p:nvPr/>
          </p:nvSpPr>
          <p:spPr>
            <a:xfrm>
              <a:off x="7378446" y="1239774"/>
              <a:ext cx="1763395" cy="1716405"/>
            </a:xfrm>
            <a:custGeom>
              <a:avLst/>
              <a:gdLst/>
              <a:ahLst/>
              <a:cxnLst/>
              <a:rect l="l" t="t" r="r" b="b"/>
              <a:pathLst>
                <a:path w="1763395" h="1716405">
                  <a:moveTo>
                    <a:pt x="905255" y="0"/>
                  </a:moveTo>
                  <a:lnTo>
                    <a:pt x="905255" y="257428"/>
                  </a:lnTo>
                  <a:lnTo>
                    <a:pt x="0" y="257428"/>
                  </a:lnTo>
                  <a:lnTo>
                    <a:pt x="0" y="1458595"/>
                  </a:lnTo>
                  <a:lnTo>
                    <a:pt x="905255" y="1458595"/>
                  </a:lnTo>
                  <a:lnTo>
                    <a:pt x="905255" y="1716024"/>
                  </a:lnTo>
                  <a:lnTo>
                    <a:pt x="1763268" y="858012"/>
                  </a:lnTo>
                  <a:lnTo>
                    <a:pt x="905255" y="0"/>
                  </a:lnTo>
                  <a:close/>
                </a:path>
              </a:pathLst>
            </a:custGeom>
            <a:solidFill>
              <a:srgbClr val="002573">
                <a:alpha val="90194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7378446" y="1239774"/>
              <a:ext cx="1763395" cy="1716405"/>
            </a:xfrm>
            <a:custGeom>
              <a:avLst/>
              <a:gdLst/>
              <a:ahLst/>
              <a:cxnLst/>
              <a:rect l="l" t="t" r="r" b="b"/>
              <a:pathLst>
                <a:path w="1763395" h="1716405">
                  <a:moveTo>
                    <a:pt x="0" y="257428"/>
                  </a:moveTo>
                  <a:lnTo>
                    <a:pt x="905255" y="257428"/>
                  </a:lnTo>
                  <a:lnTo>
                    <a:pt x="905255" y="0"/>
                  </a:lnTo>
                  <a:lnTo>
                    <a:pt x="1763268" y="858012"/>
                  </a:lnTo>
                  <a:lnTo>
                    <a:pt x="905255" y="1716024"/>
                  </a:lnTo>
                  <a:lnTo>
                    <a:pt x="905255" y="1458595"/>
                  </a:lnTo>
                  <a:lnTo>
                    <a:pt x="0" y="1458595"/>
                  </a:lnTo>
                  <a:lnTo>
                    <a:pt x="0" y="257428"/>
                  </a:lnTo>
                  <a:close/>
                </a:path>
              </a:pathLst>
            </a:custGeom>
            <a:ln w="25908">
              <a:solidFill>
                <a:srgbClr val="D4E2E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9" name="object 29"/>
          <p:cNvSpPr txBox="1"/>
          <p:nvPr/>
        </p:nvSpPr>
        <p:spPr>
          <a:xfrm>
            <a:off x="9382506" y="1646047"/>
            <a:ext cx="796290" cy="882015"/>
          </a:xfrm>
          <a:prstGeom prst="rect">
            <a:avLst/>
          </a:prstGeom>
        </p:spPr>
        <p:txBody>
          <a:bodyPr vert="horz" wrap="square" lIns="0" tIns="26670" rIns="0" bIns="0" rtlCol="0">
            <a:spAutoFit/>
          </a:bodyPr>
          <a:lstStyle/>
          <a:p>
            <a:pPr marL="12700" marR="5080" indent="-1270" algn="ctr">
              <a:lnSpc>
                <a:spcPct val="92100"/>
              </a:lnSpc>
              <a:spcBef>
                <a:spcPts val="210"/>
              </a:spcBef>
            </a:pP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To be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defined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through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growth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d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ia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g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n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o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s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t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ic</a:t>
            </a:r>
            <a:endParaRPr sz="1200">
              <a:latin typeface="Century Gothic"/>
              <a:cs typeface="Century Gothic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8394192" y="1612392"/>
            <a:ext cx="1057910" cy="970915"/>
            <a:chOff x="6870192" y="1612391"/>
            <a:chExt cx="1057910" cy="970915"/>
          </a:xfrm>
        </p:grpSpPr>
        <p:sp>
          <p:nvSpPr>
            <p:cNvPr id="31" name="object 31"/>
            <p:cNvSpPr/>
            <p:nvPr/>
          </p:nvSpPr>
          <p:spPr>
            <a:xfrm>
              <a:off x="6883146" y="1625345"/>
              <a:ext cx="1031875" cy="944880"/>
            </a:xfrm>
            <a:custGeom>
              <a:avLst/>
              <a:gdLst/>
              <a:ahLst/>
              <a:cxnLst/>
              <a:rect l="l" t="t" r="r" b="b"/>
              <a:pathLst>
                <a:path w="1031875" h="944880">
                  <a:moveTo>
                    <a:pt x="515874" y="0"/>
                  </a:moveTo>
                  <a:lnTo>
                    <a:pt x="466199" y="2163"/>
                  </a:lnTo>
                  <a:lnTo>
                    <a:pt x="417859" y="8521"/>
                  </a:lnTo>
                  <a:lnTo>
                    <a:pt x="371069" y="18875"/>
                  </a:lnTo>
                  <a:lnTo>
                    <a:pt x="326047" y="33027"/>
                  </a:lnTo>
                  <a:lnTo>
                    <a:pt x="283008" y="50779"/>
                  </a:lnTo>
                  <a:lnTo>
                    <a:pt x="242168" y="71932"/>
                  </a:lnTo>
                  <a:lnTo>
                    <a:pt x="203745" y="96289"/>
                  </a:lnTo>
                  <a:lnTo>
                    <a:pt x="167954" y="123652"/>
                  </a:lnTo>
                  <a:lnTo>
                    <a:pt x="135012" y="153821"/>
                  </a:lnTo>
                  <a:lnTo>
                    <a:pt x="105136" y="186599"/>
                  </a:lnTo>
                  <a:lnTo>
                    <a:pt x="78541" y="221787"/>
                  </a:lnTo>
                  <a:lnTo>
                    <a:pt x="55443" y="259188"/>
                  </a:lnTo>
                  <a:lnTo>
                    <a:pt x="36061" y="298603"/>
                  </a:lnTo>
                  <a:lnTo>
                    <a:pt x="20608" y="339834"/>
                  </a:lnTo>
                  <a:lnTo>
                    <a:pt x="9303" y="382682"/>
                  </a:lnTo>
                  <a:lnTo>
                    <a:pt x="2361" y="426950"/>
                  </a:lnTo>
                  <a:lnTo>
                    <a:pt x="0" y="472439"/>
                  </a:lnTo>
                  <a:lnTo>
                    <a:pt x="2361" y="517929"/>
                  </a:lnTo>
                  <a:lnTo>
                    <a:pt x="9303" y="562197"/>
                  </a:lnTo>
                  <a:lnTo>
                    <a:pt x="20608" y="605045"/>
                  </a:lnTo>
                  <a:lnTo>
                    <a:pt x="36061" y="646276"/>
                  </a:lnTo>
                  <a:lnTo>
                    <a:pt x="55443" y="685691"/>
                  </a:lnTo>
                  <a:lnTo>
                    <a:pt x="78541" y="723092"/>
                  </a:lnTo>
                  <a:lnTo>
                    <a:pt x="105136" y="758280"/>
                  </a:lnTo>
                  <a:lnTo>
                    <a:pt x="135012" y="791058"/>
                  </a:lnTo>
                  <a:lnTo>
                    <a:pt x="167954" y="821227"/>
                  </a:lnTo>
                  <a:lnTo>
                    <a:pt x="203745" y="848590"/>
                  </a:lnTo>
                  <a:lnTo>
                    <a:pt x="242168" y="872947"/>
                  </a:lnTo>
                  <a:lnTo>
                    <a:pt x="283008" y="894100"/>
                  </a:lnTo>
                  <a:lnTo>
                    <a:pt x="326047" y="911852"/>
                  </a:lnTo>
                  <a:lnTo>
                    <a:pt x="371069" y="926004"/>
                  </a:lnTo>
                  <a:lnTo>
                    <a:pt x="417859" y="936358"/>
                  </a:lnTo>
                  <a:lnTo>
                    <a:pt x="466199" y="942716"/>
                  </a:lnTo>
                  <a:lnTo>
                    <a:pt x="515874" y="944879"/>
                  </a:lnTo>
                  <a:lnTo>
                    <a:pt x="565548" y="942716"/>
                  </a:lnTo>
                  <a:lnTo>
                    <a:pt x="613888" y="936358"/>
                  </a:lnTo>
                  <a:lnTo>
                    <a:pt x="660678" y="926004"/>
                  </a:lnTo>
                  <a:lnTo>
                    <a:pt x="705700" y="911852"/>
                  </a:lnTo>
                  <a:lnTo>
                    <a:pt x="748739" y="894100"/>
                  </a:lnTo>
                  <a:lnTo>
                    <a:pt x="789579" y="872947"/>
                  </a:lnTo>
                  <a:lnTo>
                    <a:pt x="828002" y="848590"/>
                  </a:lnTo>
                  <a:lnTo>
                    <a:pt x="863793" y="821227"/>
                  </a:lnTo>
                  <a:lnTo>
                    <a:pt x="896735" y="791058"/>
                  </a:lnTo>
                  <a:lnTo>
                    <a:pt x="926611" y="758280"/>
                  </a:lnTo>
                  <a:lnTo>
                    <a:pt x="953206" y="723092"/>
                  </a:lnTo>
                  <a:lnTo>
                    <a:pt x="976304" y="685691"/>
                  </a:lnTo>
                  <a:lnTo>
                    <a:pt x="995686" y="646276"/>
                  </a:lnTo>
                  <a:lnTo>
                    <a:pt x="1011139" y="605045"/>
                  </a:lnTo>
                  <a:lnTo>
                    <a:pt x="1022444" y="562197"/>
                  </a:lnTo>
                  <a:lnTo>
                    <a:pt x="1029386" y="517929"/>
                  </a:lnTo>
                  <a:lnTo>
                    <a:pt x="1031748" y="472439"/>
                  </a:lnTo>
                  <a:lnTo>
                    <a:pt x="1029386" y="426950"/>
                  </a:lnTo>
                  <a:lnTo>
                    <a:pt x="1022444" y="382682"/>
                  </a:lnTo>
                  <a:lnTo>
                    <a:pt x="1011139" y="339834"/>
                  </a:lnTo>
                  <a:lnTo>
                    <a:pt x="995686" y="298603"/>
                  </a:lnTo>
                  <a:lnTo>
                    <a:pt x="976304" y="259188"/>
                  </a:lnTo>
                  <a:lnTo>
                    <a:pt x="953206" y="221787"/>
                  </a:lnTo>
                  <a:lnTo>
                    <a:pt x="926611" y="186599"/>
                  </a:lnTo>
                  <a:lnTo>
                    <a:pt x="896735" y="153821"/>
                  </a:lnTo>
                  <a:lnTo>
                    <a:pt x="863793" y="123652"/>
                  </a:lnTo>
                  <a:lnTo>
                    <a:pt x="828002" y="96289"/>
                  </a:lnTo>
                  <a:lnTo>
                    <a:pt x="789579" y="71932"/>
                  </a:lnTo>
                  <a:lnTo>
                    <a:pt x="748739" y="50779"/>
                  </a:lnTo>
                  <a:lnTo>
                    <a:pt x="705700" y="33027"/>
                  </a:lnTo>
                  <a:lnTo>
                    <a:pt x="660678" y="18875"/>
                  </a:lnTo>
                  <a:lnTo>
                    <a:pt x="613888" y="8521"/>
                  </a:lnTo>
                  <a:lnTo>
                    <a:pt x="565548" y="2163"/>
                  </a:lnTo>
                  <a:lnTo>
                    <a:pt x="515874" y="0"/>
                  </a:lnTo>
                  <a:close/>
                </a:path>
              </a:pathLst>
            </a:custGeom>
            <a:solidFill>
              <a:srgbClr val="D1730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6883146" y="1625345"/>
              <a:ext cx="1031875" cy="944880"/>
            </a:xfrm>
            <a:custGeom>
              <a:avLst/>
              <a:gdLst/>
              <a:ahLst/>
              <a:cxnLst/>
              <a:rect l="l" t="t" r="r" b="b"/>
              <a:pathLst>
                <a:path w="1031875" h="944880">
                  <a:moveTo>
                    <a:pt x="0" y="472439"/>
                  </a:moveTo>
                  <a:lnTo>
                    <a:pt x="2361" y="426950"/>
                  </a:lnTo>
                  <a:lnTo>
                    <a:pt x="9303" y="382682"/>
                  </a:lnTo>
                  <a:lnTo>
                    <a:pt x="20608" y="339834"/>
                  </a:lnTo>
                  <a:lnTo>
                    <a:pt x="36061" y="298603"/>
                  </a:lnTo>
                  <a:lnTo>
                    <a:pt x="55443" y="259188"/>
                  </a:lnTo>
                  <a:lnTo>
                    <a:pt x="78541" y="221787"/>
                  </a:lnTo>
                  <a:lnTo>
                    <a:pt x="105136" y="186599"/>
                  </a:lnTo>
                  <a:lnTo>
                    <a:pt x="135012" y="153821"/>
                  </a:lnTo>
                  <a:lnTo>
                    <a:pt x="167954" y="123652"/>
                  </a:lnTo>
                  <a:lnTo>
                    <a:pt x="203745" y="96289"/>
                  </a:lnTo>
                  <a:lnTo>
                    <a:pt x="242168" y="71932"/>
                  </a:lnTo>
                  <a:lnTo>
                    <a:pt x="283008" y="50779"/>
                  </a:lnTo>
                  <a:lnTo>
                    <a:pt x="326047" y="33027"/>
                  </a:lnTo>
                  <a:lnTo>
                    <a:pt x="371069" y="18875"/>
                  </a:lnTo>
                  <a:lnTo>
                    <a:pt x="417859" y="8521"/>
                  </a:lnTo>
                  <a:lnTo>
                    <a:pt x="466199" y="2163"/>
                  </a:lnTo>
                  <a:lnTo>
                    <a:pt x="515874" y="0"/>
                  </a:lnTo>
                  <a:lnTo>
                    <a:pt x="565548" y="2163"/>
                  </a:lnTo>
                  <a:lnTo>
                    <a:pt x="613888" y="8521"/>
                  </a:lnTo>
                  <a:lnTo>
                    <a:pt x="660678" y="18875"/>
                  </a:lnTo>
                  <a:lnTo>
                    <a:pt x="705700" y="33027"/>
                  </a:lnTo>
                  <a:lnTo>
                    <a:pt x="748739" y="50779"/>
                  </a:lnTo>
                  <a:lnTo>
                    <a:pt x="789579" y="71932"/>
                  </a:lnTo>
                  <a:lnTo>
                    <a:pt x="828002" y="96289"/>
                  </a:lnTo>
                  <a:lnTo>
                    <a:pt x="863793" y="123652"/>
                  </a:lnTo>
                  <a:lnTo>
                    <a:pt x="896735" y="153821"/>
                  </a:lnTo>
                  <a:lnTo>
                    <a:pt x="926611" y="186599"/>
                  </a:lnTo>
                  <a:lnTo>
                    <a:pt x="953206" y="221787"/>
                  </a:lnTo>
                  <a:lnTo>
                    <a:pt x="976304" y="259188"/>
                  </a:lnTo>
                  <a:lnTo>
                    <a:pt x="995686" y="298603"/>
                  </a:lnTo>
                  <a:lnTo>
                    <a:pt x="1011139" y="339834"/>
                  </a:lnTo>
                  <a:lnTo>
                    <a:pt x="1022444" y="382682"/>
                  </a:lnTo>
                  <a:lnTo>
                    <a:pt x="1029386" y="426950"/>
                  </a:lnTo>
                  <a:lnTo>
                    <a:pt x="1031748" y="472439"/>
                  </a:lnTo>
                  <a:lnTo>
                    <a:pt x="1029386" y="517929"/>
                  </a:lnTo>
                  <a:lnTo>
                    <a:pt x="1022444" y="562197"/>
                  </a:lnTo>
                  <a:lnTo>
                    <a:pt x="1011139" y="605045"/>
                  </a:lnTo>
                  <a:lnTo>
                    <a:pt x="995686" y="646276"/>
                  </a:lnTo>
                  <a:lnTo>
                    <a:pt x="976304" y="685691"/>
                  </a:lnTo>
                  <a:lnTo>
                    <a:pt x="953206" y="723092"/>
                  </a:lnTo>
                  <a:lnTo>
                    <a:pt x="926611" y="758280"/>
                  </a:lnTo>
                  <a:lnTo>
                    <a:pt x="896735" y="791058"/>
                  </a:lnTo>
                  <a:lnTo>
                    <a:pt x="863793" y="821227"/>
                  </a:lnTo>
                  <a:lnTo>
                    <a:pt x="828002" y="848590"/>
                  </a:lnTo>
                  <a:lnTo>
                    <a:pt x="789579" y="872947"/>
                  </a:lnTo>
                  <a:lnTo>
                    <a:pt x="748739" y="894100"/>
                  </a:lnTo>
                  <a:lnTo>
                    <a:pt x="705700" y="911852"/>
                  </a:lnTo>
                  <a:lnTo>
                    <a:pt x="660678" y="926004"/>
                  </a:lnTo>
                  <a:lnTo>
                    <a:pt x="613888" y="936358"/>
                  </a:lnTo>
                  <a:lnTo>
                    <a:pt x="565548" y="942716"/>
                  </a:lnTo>
                  <a:lnTo>
                    <a:pt x="515874" y="944879"/>
                  </a:lnTo>
                  <a:lnTo>
                    <a:pt x="466199" y="942716"/>
                  </a:lnTo>
                  <a:lnTo>
                    <a:pt x="417859" y="936358"/>
                  </a:lnTo>
                  <a:lnTo>
                    <a:pt x="371069" y="926004"/>
                  </a:lnTo>
                  <a:lnTo>
                    <a:pt x="326047" y="911852"/>
                  </a:lnTo>
                  <a:lnTo>
                    <a:pt x="283008" y="894100"/>
                  </a:lnTo>
                  <a:lnTo>
                    <a:pt x="242168" y="872947"/>
                  </a:lnTo>
                  <a:lnTo>
                    <a:pt x="203745" y="848590"/>
                  </a:lnTo>
                  <a:lnTo>
                    <a:pt x="167954" y="821227"/>
                  </a:lnTo>
                  <a:lnTo>
                    <a:pt x="135012" y="791058"/>
                  </a:lnTo>
                  <a:lnTo>
                    <a:pt x="105136" y="758280"/>
                  </a:lnTo>
                  <a:lnTo>
                    <a:pt x="78541" y="723092"/>
                  </a:lnTo>
                  <a:lnTo>
                    <a:pt x="55443" y="685691"/>
                  </a:lnTo>
                  <a:lnTo>
                    <a:pt x="36061" y="646276"/>
                  </a:lnTo>
                  <a:lnTo>
                    <a:pt x="20608" y="605045"/>
                  </a:lnTo>
                  <a:lnTo>
                    <a:pt x="9303" y="562197"/>
                  </a:lnTo>
                  <a:lnTo>
                    <a:pt x="2361" y="517929"/>
                  </a:lnTo>
                  <a:lnTo>
                    <a:pt x="0" y="472439"/>
                  </a:lnTo>
                  <a:close/>
                </a:path>
              </a:pathLst>
            </a:custGeom>
            <a:ln w="25908">
              <a:solidFill>
                <a:srgbClr val="D4E2E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33"/>
          <p:cNvSpPr txBox="1"/>
          <p:nvPr/>
        </p:nvSpPr>
        <p:spPr>
          <a:xfrm>
            <a:off x="8616442" y="1814322"/>
            <a:ext cx="632460" cy="545465"/>
          </a:xfrm>
          <a:prstGeom prst="rect">
            <a:avLst/>
          </a:prstGeom>
        </p:spPr>
        <p:txBody>
          <a:bodyPr vert="horz" wrap="square" lIns="0" tIns="26670" rIns="0" bIns="0" rtlCol="0">
            <a:spAutoFit/>
          </a:bodyPr>
          <a:lstStyle/>
          <a:p>
            <a:pPr marL="12065" marR="5080" indent="-3175" algn="ctr">
              <a:lnSpc>
                <a:spcPct val="92100"/>
              </a:lnSpc>
              <a:spcBef>
                <a:spcPts val="210"/>
              </a:spcBef>
            </a:pP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New </a:t>
            </a:r>
            <a:r>
              <a:rPr sz="1200" spc="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200" spc="-10" dirty="0">
                <a:solidFill>
                  <a:srgbClr val="FFFFFF"/>
                </a:solidFill>
                <a:latin typeface="Century Gothic"/>
                <a:cs typeface="Century Gothic"/>
              </a:rPr>
              <a:t>Growth 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 S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t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r</a:t>
            </a:r>
            <a:r>
              <a:rPr sz="1200" spc="-5" dirty="0">
                <a:solidFill>
                  <a:srgbClr val="FFFFFF"/>
                </a:solidFill>
                <a:latin typeface="Century Gothic"/>
                <a:cs typeface="Century Gothic"/>
              </a:rPr>
              <a:t>a</a:t>
            </a:r>
            <a:r>
              <a:rPr sz="1200" spc="-25" dirty="0">
                <a:solidFill>
                  <a:srgbClr val="FFFFFF"/>
                </a:solidFill>
                <a:latin typeface="Century Gothic"/>
                <a:cs typeface="Century Gothic"/>
              </a:rPr>
              <a:t>t</a:t>
            </a:r>
            <a:r>
              <a:rPr sz="1200" dirty="0">
                <a:solidFill>
                  <a:srgbClr val="FFFFFF"/>
                </a:solidFill>
                <a:latin typeface="Century Gothic"/>
                <a:cs typeface="Century Gothic"/>
              </a:rPr>
              <a:t>egy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34" name="object 34"/>
          <p:cNvSpPr txBox="1">
            <a:spLocks noGrp="1"/>
          </p:cNvSpPr>
          <p:nvPr>
            <p:ph type="title"/>
          </p:nvPr>
        </p:nvSpPr>
        <p:spPr>
          <a:xfrm>
            <a:off x="543208" y="90613"/>
            <a:ext cx="10692142" cy="75148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/>
          <a:p>
            <a:pPr marL="12700">
              <a:spcBef>
                <a:spcPts val="100"/>
              </a:spcBef>
            </a:pPr>
            <a:r>
              <a:rPr spc="-5" dirty="0">
                <a:solidFill>
                  <a:srgbClr val="003399"/>
                </a:solidFill>
              </a:rPr>
              <a:t>Overview</a:t>
            </a:r>
            <a:r>
              <a:rPr spc="5" dirty="0">
                <a:solidFill>
                  <a:srgbClr val="003399"/>
                </a:solidFill>
              </a:rPr>
              <a:t> </a:t>
            </a:r>
            <a:r>
              <a:rPr spc="-5" dirty="0">
                <a:solidFill>
                  <a:srgbClr val="003399"/>
                </a:solidFill>
              </a:rPr>
              <a:t>of</a:t>
            </a:r>
            <a:r>
              <a:rPr spc="10" dirty="0">
                <a:solidFill>
                  <a:srgbClr val="003399"/>
                </a:solidFill>
              </a:rPr>
              <a:t> </a:t>
            </a:r>
            <a:r>
              <a:rPr spc="-5" dirty="0">
                <a:solidFill>
                  <a:srgbClr val="003399"/>
                </a:solidFill>
              </a:rPr>
              <a:t>Different</a:t>
            </a:r>
            <a:r>
              <a:rPr spc="5" dirty="0">
                <a:solidFill>
                  <a:srgbClr val="003399"/>
                </a:solidFill>
              </a:rPr>
              <a:t> </a:t>
            </a:r>
            <a:r>
              <a:rPr spc="-5" dirty="0">
                <a:solidFill>
                  <a:srgbClr val="003399"/>
                </a:solidFill>
              </a:rPr>
              <a:t>Levels</a:t>
            </a:r>
            <a:r>
              <a:rPr spc="5" dirty="0">
                <a:solidFill>
                  <a:srgbClr val="003399"/>
                </a:solidFill>
              </a:rPr>
              <a:t> </a:t>
            </a:r>
            <a:r>
              <a:rPr dirty="0">
                <a:solidFill>
                  <a:srgbClr val="003399"/>
                </a:solidFill>
              </a:rPr>
              <a:t>&amp;</a:t>
            </a:r>
            <a:r>
              <a:rPr spc="5" dirty="0">
                <a:solidFill>
                  <a:srgbClr val="003399"/>
                </a:solidFill>
              </a:rPr>
              <a:t> </a:t>
            </a:r>
            <a:r>
              <a:rPr spc="-5" dirty="0">
                <a:solidFill>
                  <a:srgbClr val="003399"/>
                </a:solidFill>
              </a:rPr>
              <a:t>Timelines</a:t>
            </a:r>
            <a:r>
              <a:rPr spc="-10" dirty="0">
                <a:solidFill>
                  <a:srgbClr val="003399"/>
                </a:solidFill>
              </a:rPr>
              <a:t> </a:t>
            </a:r>
            <a:r>
              <a:rPr spc="-5" dirty="0">
                <a:solidFill>
                  <a:srgbClr val="003399"/>
                </a:solidFill>
              </a:rPr>
              <a:t>of</a:t>
            </a:r>
            <a:r>
              <a:rPr lang="en-US" spc="-5" dirty="0">
                <a:solidFill>
                  <a:srgbClr val="003399"/>
                </a:solidFill>
              </a:rPr>
              <a:t> </a:t>
            </a:r>
            <a:r>
              <a:rPr spc="-5" dirty="0">
                <a:solidFill>
                  <a:srgbClr val="003399"/>
                </a:solidFill>
              </a:rPr>
              <a:t>Economic</a:t>
            </a:r>
            <a:r>
              <a:rPr spc="-15" dirty="0">
                <a:solidFill>
                  <a:srgbClr val="003399"/>
                </a:solidFill>
              </a:rPr>
              <a:t> </a:t>
            </a:r>
            <a:r>
              <a:rPr spc="-5" dirty="0">
                <a:solidFill>
                  <a:srgbClr val="003399"/>
                </a:solidFill>
              </a:rPr>
              <a:t>Strategies and Plans</a:t>
            </a:r>
          </a:p>
        </p:txBody>
      </p:sp>
      <p:sp>
        <p:nvSpPr>
          <p:cNvPr id="35" name="object 35"/>
          <p:cNvSpPr/>
          <p:nvPr/>
        </p:nvSpPr>
        <p:spPr>
          <a:xfrm>
            <a:off x="1806689" y="3401060"/>
            <a:ext cx="0" cy="459105"/>
          </a:xfrm>
          <a:custGeom>
            <a:avLst/>
            <a:gdLst/>
            <a:ahLst/>
            <a:cxnLst/>
            <a:rect l="l" t="t" r="r" b="b"/>
            <a:pathLst>
              <a:path h="459104">
                <a:moveTo>
                  <a:pt x="0" y="0"/>
                </a:moveTo>
                <a:lnTo>
                  <a:pt x="0" y="458977"/>
                </a:lnTo>
              </a:path>
            </a:pathLst>
          </a:custGeom>
          <a:ln w="38100">
            <a:solidFill>
              <a:srgbClr val="00138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36" name="object 36"/>
          <p:cNvGraphicFramePr>
            <a:graphicFrameLocks noGrp="1"/>
          </p:cNvGraphicFramePr>
          <p:nvPr/>
        </p:nvGraphicFramePr>
        <p:xfrm>
          <a:off x="2111451" y="3401060"/>
          <a:ext cx="8421370" cy="4589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284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9519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6603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3169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58977">
                <a:tc>
                  <a:txBody>
                    <a:bodyPr/>
                    <a:lstStyle/>
                    <a:p>
                      <a:pPr marL="12700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Century Gothic"/>
                          <a:cs typeface="Century Gothic"/>
                        </a:rPr>
                        <a:t>2006-2009</a:t>
                      </a:r>
                      <a:endParaRPr sz="1600">
                        <a:latin typeface="Century Gothic"/>
                        <a:cs typeface="Century Gothic"/>
                      </a:endParaRPr>
                    </a:p>
                  </a:txBody>
                  <a:tcPr marL="0" marR="0" marT="41275" marB="0">
                    <a:lnR w="38100">
                      <a:solidFill>
                        <a:srgbClr val="001388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61341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Century Gothic"/>
                          <a:cs typeface="Century Gothic"/>
                        </a:rPr>
                        <a:t>2014-2019</a:t>
                      </a:r>
                      <a:endParaRPr sz="1600">
                        <a:latin typeface="Century Gothic"/>
                        <a:cs typeface="Century Gothic"/>
                      </a:endParaRPr>
                    </a:p>
                  </a:txBody>
                  <a:tcPr marL="0" marR="0" marT="41275" marB="0">
                    <a:lnL w="38100">
                      <a:solidFill>
                        <a:srgbClr val="001388"/>
                      </a:solidFill>
                      <a:prstDash val="solid"/>
                    </a:lnL>
                    <a:lnR w="38100">
                      <a:solidFill>
                        <a:srgbClr val="001388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79819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Century Gothic"/>
                          <a:cs typeface="Century Gothic"/>
                        </a:rPr>
                        <a:t>2020-2021</a:t>
                      </a:r>
                      <a:endParaRPr sz="1600">
                        <a:latin typeface="Century Gothic"/>
                        <a:cs typeface="Century Gothic"/>
                      </a:endParaRPr>
                    </a:p>
                  </a:txBody>
                  <a:tcPr marL="0" marR="0" marT="41275" marB="0">
                    <a:lnL w="38100">
                      <a:solidFill>
                        <a:srgbClr val="001388"/>
                      </a:solidFill>
                      <a:prstDash val="solid"/>
                    </a:lnL>
                    <a:lnR w="38100">
                      <a:solidFill>
                        <a:srgbClr val="001388"/>
                      </a:solidFill>
                      <a:prstDash val="solid"/>
                    </a:lnR>
                  </a:tcPr>
                </a:tc>
                <a:tc>
                  <a:txBody>
                    <a:bodyPr/>
                    <a:lstStyle/>
                    <a:p>
                      <a:pPr marL="26670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Century Gothic"/>
                          <a:cs typeface="Century Gothic"/>
                        </a:rPr>
                        <a:t>2021</a:t>
                      </a:r>
                      <a:r>
                        <a:rPr sz="1600" spc="-25" dirty="0">
                          <a:latin typeface="Century Gothic"/>
                          <a:cs typeface="Century Gothic"/>
                        </a:rPr>
                        <a:t> </a:t>
                      </a:r>
                      <a:r>
                        <a:rPr sz="1600" spc="-10" dirty="0">
                          <a:latin typeface="Century Gothic"/>
                          <a:cs typeface="Century Gothic"/>
                        </a:rPr>
                        <a:t>and</a:t>
                      </a:r>
                      <a:r>
                        <a:rPr sz="1600" spc="-20" dirty="0">
                          <a:latin typeface="Century Gothic"/>
                          <a:cs typeface="Century Gothic"/>
                        </a:rPr>
                        <a:t> </a:t>
                      </a:r>
                      <a:r>
                        <a:rPr sz="1600" spc="-5" dirty="0">
                          <a:latin typeface="Century Gothic"/>
                          <a:cs typeface="Century Gothic"/>
                        </a:rPr>
                        <a:t>beyond</a:t>
                      </a:r>
                      <a:endParaRPr sz="1600">
                        <a:latin typeface="Century Gothic"/>
                        <a:cs typeface="Century Gothic"/>
                      </a:endParaRPr>
                    </a:p>
                  </a:txBody>
                  <a:tcPr marL="0" marR="0" marT="41275" marB="0">
                    <a:lnL w="38100">
                      <a:solidFill>
                        <a:srgbClr val="001388"/>
                      </a:solidFill>
                      <a:prstDash val="soli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37" name="object 37"/>
          <p:cNvSpPr txBox="1"/>
          <p:nvPr/>
        </p:nvSpPr>
        <p:spPr>
          <a:xfrm>
            <a:off x="3654933" y="4074415"/>
            <a:ext cx="1820545" cy="11233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201930" indent="-172720">
              <a:spcBef>
                <a:spcPts val="100"/>
              </a:spcBef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latin typeface="Century Gothic"/>
                <a:cs typeface="Century Gothic"/>
              </a:rPr>
              <a:t>Agri-processing, </a:t>
            </a:r>
            <a:r>
              <a:rPr sz="120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Tourism</a:t>
            </a:r>
            <a:r>
              <a:rPr sz="1200" spc="-15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&amp;</a:t>
            </a:r>
            <a:r>
              <a:rPr sz="1200" spc="-1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Oil</a:t>
            </a:r>
            <a:r>
              <a:rPr sz="1200" spc="-30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&amp;</a:t>
            </a:r>
            <a:r>
              <a:rPr sz="1200" spc="-5" dirty="0">
                <a:latin typeface="Century Gothic"/>
                <a:cs typeface="Century Gothic"/>
              </a:rPr>
              <a:t> Gas</a:t>
            </a:r>
            <a:endParaRPr sz="1200">
              <a:latin typeface="Century Gothic"/>
              <a:cs typeface="Century Gothic"/>
            </a:endParaRPr>
          </a:p>
          <a:p>
            <a:pPr marL="184785" indent="-172720">
              <a:buFont typeface="Arial"/>
              <a:buChar char="•"/>
              <a:tabLst>
                <a:tab pos="185420" algn="l"/>
              </a:tabLst>
            </a:pPr>
            <a:r>
              <a:rPr sz="1200" dirty="0">
                <a:latin typeface="Century Gothic"/>
                <a:cs typeface="Century Gothic"/>
              </a:rPr>
              <a:t>Global</a:t>
            </a:r>
            <a:r>
              <a:rPr sz="1200" spc="-3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oil </a:t>
            </a:r>
            <a:r>
              <a:rPr sz="1200" dirty="0">
                <a:latin typeface="Century Gothic"/>
                <a:cs typeface="Century Gothic"/>
              </a:rPr>
              <a:t>price</a:t>
            </a:r>
            <a:endParaRPr sz="1200">
              <a:latin typeface="Century Gothic"/>
              <a:cs typeface="Century Gothic"/>
            </a:endParaRPr>
          </a:p>
          <a:p>
            <a:pPr marL="184785" marR="5080" indent="-172720">
              <a:buFont typeface="Arial"/>
              <a:buChar char="•"/>
              <a:tabLst>
                <a:tab pos="185420" algn="l"/>
              </a:tabLst>
            </a:pPr>
            <a:r>
              <a:rPr sz="1200" spc="-10" dirty="0">
                <a:latin typeface="Century Gothic"/>
                <a:cs typeface="Century Gothic"/>
              </a:rPr>
              <a:t>Too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narrow</a:t>
            </a:r>
            <a:r>
              <a:rPr sz="1200" spc="2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in</a:t>
            </a:r>
            <a:r>
              <a:rPr sz="1200" spc="-1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terms</a:t>
            </a:r>
            <a:r>
              <a:rPr sz="120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of </a:t>
            </a:r>
            <a:r>
              <a:rPr sz="1200" spc="-320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sectoral</a:t>
            </a:r>
            <a:r>
              <a:rPr sz="1200" spc="3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effect</a:t>
            </a:r>
            <a:endParaRPr sz="1200">
              <a:latin typeface="Century Gothic"/>
              <a:cs typeface="Century Gothic"/>
            </a:endParaRPr>
          </a:p>
          <a:p>
            <a:pPr marL="184785" indent="-172720">
              <a:buFont typeface="Arial"/>
              <a:buChar char="•"/>
              <a:tabLst>
                <a:tab pos="185420" algn="l"/>
              </a:tabLst>
            </a:pPr>
            <a:r>
              <a:rPr sz="1200" dirty="0">
                <a:latin typeface="Century Gothic"/>
                <a:cs typeface="Century Gothic"/>
              </a:rPr>
              <a:t>Red</a:t>
            </a:r>
            <a:r>
              <a:rPr sz="1200" spc="-25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tape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reduction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820536" y="4136594"/>
            <a:ext cx="2157730" cy="11233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80645" indent="-172720">
              <a:spcBef>
                <a:spcPts val="100"/>
              </a:spcBef>
              <a:buFont typeface="Arial"/>
              <a:buChar char="•"/>
              <a:tabLst>
                <a:tab pos="185420" algn="l"/>
              </a:tabLst>
            </a:pPr>
            <a:r>
              <a:rPr sz="1200" dirty="0">
                <a:latin typeface="Century Gothic"/>
                <a:cs typeface="Century Gothic"/>
              </a:rPr>
              <a:t>Recognises challenges 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associated</a:t>
            </a:r>
            <a:r>
              <a:rPr sz="1200" spc="10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with</a:t>
            </a:r>
            <a:r>
              <a:rPr sz="1200" spc="1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domestic </a:t>
            </a:r>
            <a:r>
              <a:rPr sz="1200" spc="-315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growth</a:t>
            </a:r>
            <a:r>
              <a:rPr sz="1200" spc="4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and</a:t>
            </a:r>
            <a:r>
              <a:rPr sz="1200" spc="10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declining 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competitiveness</a:t>
            </a:r>
            <a:endParaRPr sz="1200">
              <a:latin typeface="Century Gothic"/>
              <a:cs typeface="Century Gothic"/>
            </a:endParaRPr>
          </a:p>
          <a:p>
            <a:pPr marL="184785" marR="5080" indent="-172720">
              <a:spcBef>
                <a:spcPts val="5"/>
              </a:spcBef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latin typeface="Century Gothic"/>
                <a:cs typeface="Century Gothic"/>
              </a:rPr>
              <a:t>Exports through</a:t>
            </a:r>
            <a:r>
              <a:rPr sz="1200" spc="15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supporting </a:t>
            </a:r>
            <a:r>
              <a:rPr sz="1200" spc="-32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tradable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sectors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8277607" y="4136594"/>
            <a:ext cx="2068195" cy="16725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33655" indent="-172720" algn="just">
              <a:spcBef>
                <a:spcPts val="100"/>
              </a:spcBef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latin typeface="Century Gothic"/>
                <a:cs typeface="Century Gothic"/>
              </a:rPr>
              <a:t>Compensates </a:t>
            </a:r>
            <a:r>
              <a:rPr sz="1200" spc="-10" dirty="0">
                <a:latin typeface="Century Gothic"/>
                <a:cs typeface="Century Gothic"/>
              </a:rPr>
              <a:t>for </a:t>
            </a:r>
            <a:r>
              <a:rPr sz="1200" spc="-5" dirty="0">
                <a:latin typeface="Century Gothic"/>
                <a:cs typeface="Century Gothic"/>
              </a:rPr>
              <a:t>Covid- </a:t>
            </a:r>
            <a:r>
              <a:rPr sz="1200" spc="-32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19 exogenous shock and </a:t>
            </a:r>
            <a:r>
              <a:rPr sz="1200" spc="-320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new</a:t>
            </a:r>
            <a:r>
              <a:rPr sz="1200" spc="-10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way </a:t>
            </a:r>
            <a:r>
              <a:rPr sz="1200" spc="-5" dirty="0">
                <a:latin typeface="Century Gothic"/>
                <a:cs typeface="Century Gothic"/>
              </a:rPr>
              <a:t>of</a:t>
            </a:r>
            <a:r>
              <a:rPr sz="120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working</a:t>
            </a:r>
            <a:endParaRPr sz="1200">
              <a:latin typeface="Century Gothic"/>
              <a:cs typeface="Century Gothic"/>
            </a:endParaRPr>
          </a:p>
          <a:p>
            <a:pPr marL="184785" marR="5080" indent="-172720">
              <a:spcBef>
                <a:spcPts val="5"/>
              </a:spcBef>
              <a:buFont typeface="Arial"/>
              <a:buChar char="•"/>
              <a:tabLst>
                <a:tab pos="185420" algn="l"/>
              </a:tabLst>
            </a:pPr>
            <a:r>
              <a:rPr sz="1200" spc="-10" dirty="0">
                <a:latin typeface="Century Gothic"/>
                <a:cs typeface="Century Gothic"/>
              </a:rPr>
              <a:t>Sensitive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15" dirty="0">
                <a:latin typeface="Century Gothic"/>
                <a:cs typeface="Century Gothic"/>
              </a:rPr>
              <a:t>to</a:t>
            </a:r>
            <a:r>
              <a:rPr sz="1200" spc="3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fiscal </a:t>
            </a:r>
            <a:r>
              <a:rPr sz="1200" dirty="0">
                <a:latin typeface="Century Gothic"/>
                <a:cs typeface="Century Gothic"/>
              </a:rPr>
              <a:t> challenges which 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demands a more 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collaborative </a:t>
            </a:r>
            <a:r>
              <a:rPr sz="1200" dirty="0">
                <a:latin typeface="Century Gothic"/>
                <a:cs typeface="Century Gothic"/>
              </a:rPr>
              <a:t>way of 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working</a:t>
            </a:r>
            <a:r>
              <a:rPr sz="120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across</a:t>
            </a:r>
            <a:r>
              <a:rPr sz="1200" spc="10" dirty="0">
                <a:latin typeface="Century Gothic"/>
                <a:cs typeface="Century Gothic"/>
              </a:rPr>
              <a:t> </a:t>
            </a:r>
            <a:r>
              <a:rPr sz="1200" spc="-10" dirty="0">
                <a:latin typeface="Century Gothic"/>
                <a:cs typeface="Century Gothic"/>
              </a:rPr>
              <a:t>traditional </a:t>
            </a:r>
            <a:r>
              <a:rPr sz="1200" spc="-32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and</a:t>
            </a:r>
            <a:r>
              <a:rPr sz="1200" spc="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non-traditional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753311" y="4132580"/>
            <a:ext cx="1663064" cy="14890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785" marR="65405" indent="-172720">
              <a:spcBef>
                <a:spcPts val="100"/>
              </a:spcBef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latin typeface="Century Gothic"/>
                <a:cs typeface="Century Gothic"/>
              </a:rPr>
              <a:t>Underpinned</a:t>
            </a:r>
            <a:r>
              <a:rPr sz="1200" spc="-2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by</a:t>
            </a:r>
            <a:r>
              <a:rPr sz="1200" spc="-3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16 </a:t>
            </a:r>
            <a:r>
              <a:rPr sz="1200" spc="-31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costly SPVs </a:t>
            </a:r>
            <a:r>
              <a:rPr sz="120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characterised</a:t>
            </a:r>
            <a:r>
              <a:rPr sz="1200" spc="1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by </a:t>
            </a:r>
            <a:r>
              <a:rPr sz="120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transfer</a:t>
            </a:r>
            <a:r>
              <a:rPr sz="120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payments</a:t>
            </a:r>
            <a:endParaRPr sz="1200">
              <a:latin typeface="Century Gothic"/>
              <a:cs typeface="Century Gothic"/>
            </a:endParaRPr>
          </a:p>
          <a:p>
            <a:pPr marL="184785" marR="534035" indent="-172720"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latin typeface="Century Gothic"/>
                <a:cs typeface="Century Gothic"/>
              </a:rPr>
              <a:t>H</a:t>
            </a:r>
            <a:r>
              <a:rPr sz="1200" dirty="0">
                <a:latin typeface="Century Gothic"/>
                <a:cs typeface="Century Gothic"/>
              </a:rPr>
              <a:t>ea</a:t>
            </a:r>
            <a:r>
              <a:rPr sz="1200" spc="-10" dirty="0">
                <a:latin typeface="Century Gothic"/>
                <a:cs typeface="Century Gothic"/>
              </a:rPr>
              <a:t>v</a:t>
            </a:r>
            <a:r>
              <a:rPr sz="1200" spc="-5" dirty="0">
                <a:latin typeface="Century Gothic"/>
                <a:cs typeface="Century Gothic"/>
              </a:rPr>
              <a:t>i</a:t>
            </a:r>
            <a:r>
              <a:rPr sz="1200" spc="20" dirty="0">
                <a:latin typeface="Century Gothic"/>
                <a:cs typeface="Century Gothic"/>
              </a:rPr>
              <a:t>l</a:t>
            </a:r>
            <a:r>
              <a:rPr sz="1200" dirty="0">
                <a:latin typeface="Century Gothic"/>
                <a:cs typeface="Century Gothic"/>
              </a:rPr>
              <a:t>y</a:t>
            </a:r>
            <a:r>
              <a:rPr sz="1200" spc="-2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s</a:t>
            </a:r>
            <a:r>
              <a:rPr sz="1200" spc="-25" dirty="0">
                <a:latin typeface="Century Gothic"/>
                <a:cs typeface="Century Gothic"/>
              </a:rPr>
              <a:t>t</a:t>
            </a:r>
            <a:r>
              <a:rPr sz="1200" spc="-5" dirty="0">
                <a:latin typeface="Century Gothic"/>
                <a:cs typeface="Century Gothic"/>
              </a:rPr>
              <a:t>a</a:t>
            </a:r>
            <a:r>
              <a:rPr sz="1200" spc="-25" dirty="0">
                <a:latin typeface="Century Gothic"/>
                <a:cs typeface="Century Gothic"/>
              </a:rPr>
              <a:t>t</a:t>
            </a:r>
            <a:r>
              <a:rPr sz="1200" dirty="0">
                <a:latin typeface="Century Gothic"/>
                <a:cs typeface="Century Gothic"/>
              </a:rPr>
              <a:t>e  dependent</a:t>
            </a:r>
            <a:endParaRPr sz="1200">
              <a:latin typeface="Century Gothic"/>
              <a:cs typeface="Century Gothic"/>
            </a:endParaRPr>
          </a:p>
          <a:p>
            <a:pPr marL="184785" marR="5080" indent="-172720">
              <a:buFont typeface="Arial"/>
              <a:buChar char="•"/>
              <a:tabLst>
                <a:tab pos="185420" algn="l"/>
              </a:tabLst>
            </a:pPr>
            <a:r>
              <a:rPr sz="1200" spc="-5" dirty="0">
                <a:latin typeface="Century Gothic"/>
                <a:cs typeface="Century Gothic"/>
              </a:rPr>
              <a:t>Spread</a:t>
            </a:r>
            <a:r>
              <a:rPr sz="1200" spc="-45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thinly</a:t>
            </a:r>
            <a:r>
              <a:rPr sz="1200" spc="-35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across </a:t>
            </a:r>
            <a:r>
              <a:rPr sz="1200" spc="-315" dirty="0">
                <a:latin typeface="Century Gothic"/>
                <a:cs typeface="Century Gothic"/>
              </a:rPr>
              <a:t> </a:t>
            </a:r>
            <a:r>
              <a:rPr sz="1200" dirty="0">
                <a:latin typeface="Century Gothic"/>
                <a:cs typeface="Century Gothic"/>
              </a:rPr>
              <a:t>many</a:t>
            </a:r>
            <a:r>
              <a:rPr sz="1200" spc="-20" dirty="0">
                <a:latin typeface="Century Gothic"/>
                <a:cs typeface="Century Gothic"/>
              </a:rPr>
              <a:t> </a:t>
            </a:r>
            <a:r>
              <a:rPr sz="1200" spc="-5" dirty="0">
                <a:latin typeface="Century Gothic"/>
                <a:cs typeface="Century Gothic"/>
              </a:rPr>
              <a:t>sectors</a:t>
            </a:r>
            <a:endParaRPr sz="1200">
              <a:latin typeface="Century Gothic"/>
              <a:cs typeface="Century Gothic"/>
            </a:endParaRPr>
          </a:p>
        </p:txBody>
      </p:sp>
      <p:sp>
        <p:nvSpPr>
          <p:cNvPr id="41" name="Slide Number Placeholder 2">
            <a:extLst>
              <a:ext uri="{FF2B5EF4-FFF2-40B4-BE49-F238E27FC236}">
                <a16:creationId xmlns:a16="http://schemas.microsoft.com/office/drawing/2014/main" xmlns="" id="{56354667-D43F-4D25-98DD-A19F4F1408A7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2</a:t>
            </a:fld>
            <a:endParaRPr lang="en-ZA" sz="8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D17F2C0-66D9-43CB-8B41-CCA6C7E62B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12700">
              <a:spcBef>
                <a:spcPts val="100"/>
              </a:spcBef>
            </a:pPr>
            <a:r>
              <a:rPr lang="en-US" dirty="0"/>
              <a:t>New</a:t>
            </a:r>
            <a:r>
              <a:rPr lang="en-US" spc="-20" dirty="0"/>
              <a:t> </a:t>
            </a:r>
            <a:r>
              <a:rPr lang="en-US" spc="-5" dirty="0"/>
              <a:t>approach: Balancing</a:t>
            </a:r>
            <a:r>
              <a:rPr lang="en-US" spc="-10" dirty="0"/>
              <a:t> </a:t>
            </a:r>
            <a:r>
              <a:rPr lang="en-US" dirty="0"/>
              <a:t>the </a:t>
            </a:r>
            <a:r>
              <a:rPr lang="en-US" spc="-5" dirty="0"/>
              <a:t>health</a:t>
            </a:r>
            <a:r>
              <a:rPr lang="en-US" spc="-10" dirty="0"/>
              <a:t> </a:t>
            </a:r>
            <a:r>
              <a:rPr lang="en-US" spc="-5" dirty="0"/>
              <a:t>and economic</a:t>
            </a:r>
            <a:r>
              <a:rPr lang="en-US" spc="-15" dirty="0"/>
              <a:t> </a:t>
            </a:r>
            <a:r>
              <a:rPr lang="en-US" dirty="0"/>
              <a:t>impacts</a:t>
            </a:r>
            <a:r>
              <a:rPr lang="en-US" spc="-10" dirty="0"/>
              <a:t> </a:t>
            </a:r>
            <a:r>
              <a:rPr lang="en-US" spc="-5" dirty="0"/>
              <a:t>of </a:t>
            </a:r>
            <a:r>
              <a:rPr lang="en-US" dirty="0"/>
              <a:t>Covid-19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15D4F111-4519-44F6-8060-B54352F147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2877" y="3958059"/>
            <a:ext cx="11462940" cy="1971962"/>
          </a:xfrm>
        </p:spPr>
        <p:txBody>
          <a:bodyPr>
            <a:normAutofit fontScale="85000" lnSpcReduction="20000"/>
          </a:bodyPr>
          <a:lstStyle/>
          <a:p>
            <a:pPr marL="218100" marR="30480" lvl="1">
              <a:lnSpc>
                <a:spcPct val="150000"/>
              </a:lnSpc>
              <a:spcBef>
                <a:spcPts val="100"/>
              </a:spcBef>
            </a:pPr>
            <a:r>
              <a:rPr lang="en-US" sz="1400" spc="-5" dirty="0"/>
              <a:t>Better</a:t>
            </a:r>
            <a:r>
              <a:rPr lang="en-US" sz="1400" spc="15" dirty="0"/>
              <a:t> </a:t>
            </a:r>
            <a:r>
              <a:rPr lang="en-US" sz="1400" dirty="0"/>
              <a:t>Covid-19</a:t>
            </a:r>
            <a:r>
              <a:rPr lang="en-US" sz="1400" spc="-35" dirty="0"/>
              <a:t> </a:t>
            </a:r>
            <a:r>
              <a:rPr lang="en-US" sz="1400" dirty="0"/>
              <a:t>regulation</a:t>
            </a:r>
            <a:r>
              <a:rPr lang="en-US" sz="1400" spc="-40" dirty="0"/>
              <a:t> </a:t>
            </a:r>
            <a:r>
              <a:rPr lang="en-US" sz="1400" dirty="0"/>
              <a:t>management</a:t>
            </a:r>
            <a:r>
              <a:rPr lang="en-US" sz="1400" spc="-25" dirty="0"/>
              <a:t> </a:t>
            </a:r>
            <a:r>
              <a:rPr lang="en-US" sz="1400" dirty="0"/>
              <a:t>could</a:t>
            </a:r>
            <a:r>
              <a:rPr lang="en-US" sz="1400" spc="-25" dirty="0"/>
              <a:t> </a:t>
            </a:r>
            <a:r>
              <a:rPr lang="en-US" sz="1400" dirty="0"/>
              <a:t>have</a:t>
            </a:r>
            <a:r>
              <a:rPr lang="en-US" sz="1400" spc="-15" dirty="0"/>
              <a:t> </a:t>
            </a:r>
            <a:r>
              <a:rPr lang="en-US" sz="1400" dirty="0"/>
              <a:t>avoided</a:t>
            </a:r>
            <a:r>
              <a:rPr lang="en-US" sz="1400" spc="-35" dirty="0"/>
              <a:t> </a:t>
            </a:r>
            <a:r>
              <a:rPr lang="en-US" sz="1400" dirty="0"/>
              <a:t>R25</a:t>
            </a:r>
            <a:r>
              <a:rPr lang="en-US" sz="1400" spc="-10" dirty="0"/>
              <a:t> </a:t>
            </a:r>
            <a:r>
              <a:rPr lang="en-US" sz="1400" spc="-5" dirty="0"/>
              <a:t>billion</a:t>
            </a:r>
            <a:r>
              <a:rPr lang="en-US" sz="1400" spc="-40" dirty="0"/>
              <a:t> </a:t>
            </a:r>
            <a:r>
              <a:rPr lang="en-US" sz="1400" spc="5" dirty="0"/>
              <a:t>in</a:t>
            </a:r>
            <a:r>
              <a:rPr lang="en-US" sz="1400" spc="-30" dirty="0"/>
              <a:t> </a:t>
            </a:r>
            <a:r>
              <a:rPr lang="en-US" sz="1400" spc="-5" dirty="0"/>
              <a:t>GVA</a:t>
            </a:r>
            <a:r>
              <a:rPr lang="en-US" sz="1400" spc="20" dirty="0"/>
              <a:t> </a:t>
            </a:r>
            <a:r>
              <a:rPr lang="en-US" sz="1400" dirty="0"/>
              <a:t>losses</a:t>
            </a:r>
            <a:r>
              <a:rPr lang="en-US" sz="1400" spc="-40" dirty="0"/>
              <a:t> </a:t>
            </a:r>
            <a:r>
              <a:rPr lang="en-US" sz="1400" spc="5" dirty="0"/>
              <a:t>in</a:t>
            </a:r>
            <a:r>
              <a:rPr lang="en-US" sz="1400" spc="-30" dirty="0"/>
              <a:t> </a:t>
            </a:r>
            <a:r>
              <a:rPr lang="en-US" sz="1400" dirty="0"/>
              <a:t>2020. </a:t>
            </a:r>
          </a:p>
          <a:p>
            <a:pPr marL="218100" marR="30480" lvl="1">
              <a:lnSpc>
                <a:spcPct val="150000"/>
              </a:lnSpc>
              <a:spcBef>
                <a:spcPts val="100"/>
              </a:spcBef>
            </a:pPr>
            <a:r>
              <a:rPr lang="en-US" sz="1400" spc="-375" dirty="0"/>
              <a:t> </a:t>
            </a:r>
            <a:r>
              <a:rPr lang="en-US" sz="1400" spc="15" dirty="0"/>
              <a:t>2</a:t>
            </a:r>
            <a:r>
              <a:rPr lang="en-US" sz="1350" spc="22" baseline="24691" dirty="0"/>
              <a:t>nd</a:t>
            </a:r>
            <a:r>
              <a:rPr lang="en-US" sz="1350" spc="187" baseline="24691" dirty="0"/>
              <a:t> </a:t>
            </a:r>
            <a:r>
              <a:rPr lang="en-US" sz="1400" spc="5" dirty="0"/>
              <a:t>wave</a:t>
            </a:r>
            <a:r>
              <a:rPr lang="en-US" sz="1400" spc="-30" dirty="0"/>
              <a:t> </a:t>
            </a:r>
            <a:r>
              <a:rPr lang="en-US" sz="1400" dirty="0"/>
              <a:t>of</a:t>
            </a:r>
            <a:r>
              <a:rPr lang="en-US" sz="1400" spc="-15" dirty="0"/>
              <a:t> </a:t>
            </a:r>
            <a:r>
              <a:rPr lang="en-US" sz="1400" dirty="0"/>
              <a:t>peaking</a:t>
            </a:r>
            <a:r>
              <a:rPr lang="en-US" sz="1400" spc="-15" dirty="0"/>
              <a:t> </a:t>
            </a:r>
            <a:r>
              <a:rPr lang="en-US" sz="1400" spc="-5" dirty="0"/>
              <a:t>infections.</a:t>
            </a:r>
            <a:endParaRPr lang="en-US" sz="1400" dirty="0"/>
          </a:p>
          <a:p>
            <a:pPr marL="218100" marR="3279775" lvl="1">
              <a:lnSpc>
                <a:spcPct val="150000"/>
              </a:lnSpc>
            </a:pPr>
            <a:r>
              <a:rPr lang="en-US" sz="1400" spc="-5" dirty="0"/>
              <a:t>5500 </a:t>
            </a:r>
            <a:r>
              <a:rPr lang="en-US" sz="1400" dirty="0"/>
              <a:t>jobs currently </a:t>
            </a:r>
            <a:r>
              <a:rPr lang="en-US" sz="1400" spc="-5" dirty="0"/>
              <a:t>at </a:t>
            </a:r>
            <a:r>
              <a:rPr lang="en-US" sz="1400" dirty="0"/>
              <a:t>risk </a:t>
            </a:r>
            <a:r>
              <a:rPr lang="en-US" sz="1400" spc="5" dirty="0"/>
              <a:t>in </a:t>
            </a:r>
            <a:r>
              <a:rPr lang="en-US" sz="1400" dirty="0"/>
              <a:t>alcohol related </a:t>
            </a:r>
            <a:r>
              <a:rPr lang="en-US" sz="1400" spc="-5" dirty="0"/>
              <a:t>industries. </a:t>
            </a:r>
            <a:r>
              <a:rPr lang="en-US" sz="1400" dirty="0"/>
              <a:t> </a:t>
            </a:r>
          </a:p>
          <a:p>
            <a:pPr marL="218100" marR="3279775" lvl="1">
              <a:lnSpc>
                <a:spcPct val="150000"/>
              </a:lnSpc>
            </a:pPr>
            <a:r>
              <a:rPr lang="en-US" sz="1400" dirty="0"/>
              <a:t>Covid-19 </a:t>
            </a:r>
            <a:r>
              <a:rPr lang="en-US" sz="1400" spc="-5" dirty="0"/>
              <a:t>regulations </a:t>
            </a:r>
            <a:r>
              <a:rPr lang="en-US" sz="1400" dirty="0"/>
              <a:t>-</a:t>
            </a:r>
            <a:r>
              <a:rPr lang="en-US" sz="1400" spc="5" dirty="0"/>
              <a:t> </a:t>
            </a:r>
            <a:r>
              <a:rPr lang="en-US" sz="1400" spc="-5" dirty="0"/>
              <a:t>unnecessary </a:t>
            </a:r>
            <a:r>
              <a:rPr lang="en-US" sz="1400" dirty="0"/>
              <a:t>economic </a:t>
            </a:r>
            <a:r>
              <a:rPr lang="en-US" sz="1400" spc="-5" dirty="0"/>
              <a:t>hardship. </a:t>
            </a:r>
            <a:r>
              <a:rPr lang="en-US" sz="1400" spc="-375" dirty="0"/>
              <a:t> </a:t>
            </a:r>
          </a:p>
          <a:p>
            <a:pPr marL="218100" marR="3279775" lvl="1">
              <a:lnSpc>
                <a:spcPct val="150000"/>
              </a:lnSpc>
            </a:pPr>
            <a:r>
              <a:rPr lang="en-US" sz="1400" spc="-5" dirty="0"/>
              <a:t>Specific</a:t>
            </a:r>
            <a:r>
              <a:rPr lang="en-US" sz="1400" spc="-55" dirty="0"/>
              <a:t> </a:t>
            </a:r>
            <a:r>
              <a:rPr lang="en-US" sz="1400" spc="-5" dirty="0"/>
              <a:t>and</a:t>
            </a:r>
            <a:r>
              <a:rPr lang="en-US" sz="1400" dirty="0"/>
              <a:t> credible</a:t>
            </a:r>
            <a:r>
              <a:rPr lang="en-US" sz="1400" spc="-30" dirty="0"/>
              <a:t> </a:t>
            </a:r>
            <a:r>
              <a:rPr lang="en-US" sz="1400" dirty="0"/>
              <a:t>real time</a:t>
            </a:r>
            <a:r>
              <a:rPr lang="en-US" sz="1400" spc="-30" dirty="0"/>
              <a:t> </a:t>
            </a:r>
            <a:r>
              <a:rPr lang="en-US" sz="1400" spc="-5" dirty="0"/>
              <a:t>data</a:t>
            </a:r>
            <a:r>
              <a:rPr lang="en-US" sz="1400" spc="5" dirty="0"/>
              <a:t> </a:t>
            </a:r>
            <a:r>
              <a:rPr lang="en-US" sz="1400" dirty="0"/>
              <a:t>needed:</a:t>
            </a:r>
          </a:p>
          <a:p>
            <a:pPr marL="507320" lvl="2">
              <a:spcBef>
                <a:spcPts val="840"/>
              </a:spcBef>
            </a:pPr>
            <a:r>
              <a:rPr lang="en-US" sz="1400" spc="-5" dirty="0"/>
              <a:t>Sophisticated</a:t>
            </a:r>
            <a:r>
              <a:rPr lang="en-US" sz="1400" spc="-15" dirty="0"/>
              <a:t> </a:t>
            </a:r>
            <a:r>
              <a:rPr lang="en-US" sz="1400" spc="-5" dirty="0"/>
              <a:t>Economic</a:t>
            </a:r>
            <a:r>
              <a:rPr lang="en-US" sz="1400" spc="-10" dirty="0"/>
              <a:t> </a:t>
            </a:r>
            <a:r>
              <a:rPr lang="en-US" sz="1400" spc="-5" dirty="0"/>
              <a:t>modelling,</a:t>
            </a:r>
            <a:r>
              <a:rPr lang="en-US" sz="1400" spc="-30" dirty="0"/>
              <a:t> </a:t>
            </a:r>
            <a:r>
              <a:rPr lang="en-US" sz="1400" dirty="0"/>
              <a:t>Research</a:t>
            </a:r>
            <a:r>
              <a:rPr lang="en-US" sz="1400" spc="-15" dirty="0"/>
              <a:t> </a:t>
            </a:r>
            <a:r>
              <a:rPr lang="en-US" sz="1400" dirty="0"/>
              <a:t>panels,</a:t>
            </a:r>
            <a:r>
              <a:rPr lang="en-US" sz="1400" spc="-30" dirty="0"/>
              <a:t> </a:t>
            </a:r>
            <a:r>
              <a:rPr lang="en-US" sz="1400" dirty="0"/>
              <a:t>Surveys,</a:t>
            </a:r>
            <a:r>
              <a:rPr lang="en-US" sz="1400" spc="-20" dirty="0"/>
              <a:t> </a:t>
            </a:r>
            <a:r>
              <a:rPr lang="en-US" sz="1400" spc="-5" dirty="0"/>
              <a:t>Data</a:t>
            </a:r>
            <a:r>
              <a:rPr lang="en-US" sz="1400" spc="5" dirty="0"/>
              <a:t> </a:t>
            </a:r>
            <a:r>
              <a:rPr lang="en-US" sz="1400" spc="-5" dirty="0"/>
              <a:t>sets,</a:t>
            </a:r>
            <a:r>
              <a:rPr lang="en-US" sz="1400" spc="5" dirty="0"/>
              <a:t> </a:t>
            </a:r>
            <a:r>
              <a:rPr lang="en-US" sz="1400" dirty="0"/>
              <a:t>High</a:t>
            </a:r>
            <a:r>
              <a:rPr lang="en-US" sz="1400" spc="-25" dirty="0"/>
              <a:t> </a:t>
            </a:r>
            <a:r>
              <a:rPr lang="en-US" sz="1400" dirty="0"/>
              <a:t>Frequency </a:t>
            </a:r>
            <a:r>
              <a:rPr lang="en-US" sz="1400" spc="-5" dirty="0"/>
              <a:t>data </a:t>
            </a:r>
            <a:r>
              <a:rPr lang="en-US" sz="1400" dirty="0"/>
              <a:t>linked </a:t>
            </a:r>
            <a:r>
              <a:rPr lang="en-US" sz="1400" spc="-5" dirty="0"/>
              <a:t>to mobility, flights, </a:t>
            </a:r>
            <a:r>
              <a:rPr lang="en-US" sz="1400" spc="5" dirty="0"/>
              <a:t>SMMEs </a:t>
            </a:r>
            <a:r>
              <a:rPr lang="en-US" sz="1400" spc="-5" dirty="0"/>
              <a:t>and transactions, </a:t>
            </a:r>
            <a:r>
              <a:rPr lang="en-US" sz="1400" dirty="0"/>
              <a:t>Interviews, </a:t>
            </a:r>
            <a:r>
              <a:rPr lang="en-US" sz="1400" spc="5" dirty="0"/>
              <a:t>Firm </a:t>
            </a:r>
            <a:r>
              <a:rPr lang="en-US" sz="1400" spc="-5" dirty="0"/>
              <a:t>Engagements, </a:t>
            </a:r>
            <a:r>
              <a:rPr lang="en-US" sz="1400" spc="-375" dirty="0"/>
              <a:t> </a:t>
            </a:r>
            <a:r>
              <a:rPr lang="en-US" sz="1400" spc="-5" dirty="0"/>
              <a:t>Industry</a:t>
            </a:r>
            <a:r>
              <a:rPr lang="en-US" sz="1400" spc="-35" dirty="0"/>
              <a:t> </a:t>
            </a:r>
            <a:r>
              <a:rPr lang="en-US" sz="1400" dirty="0"/>
              <a:t>leaders)</a:t>
            </a:r>
          </a:p>
          <a:p>
            <a:pPr marL="218100" lvl="1">
              <a:spcBef>
                <a:spcPts val="840"/>
              </a:spcBef>
            </a:pPr>
            <a:r>
              <a:rPr lang="en-US" sz="1400" spc="-5" dirty="0"/>
              <a:t>Data</a:t>
            </a:r>
            <a:r>
              <a:rPr lang="en-US" sz="1400" spc="10" dirty="0"/>
              <a:t> </a:t>
            </a:r>
            <a:r>
              <a:rPr lang="en-US" sz="1400" dirty="0"/>
              <a:t>driven</a:t>
            </a:r>
            <a:r>
              <a:rPr lang="en-US" sz="1400" spc="-45" dirty="0"/>
              <a:t> </a:t>
            </a:r>
            <a:r>
              <a:rPr lang="en-US" sz="1400" spc="-5" dirty="0"/>
              <a:t>nimbleness</a:t>
            </a:r>
            <a:r>
              <a:rPr lang="en-US" sz="1400" spc="-40" dirty="0"/>
              <a:t> </a:t>
            </a:r>
            <a:r>
              <a:rPr lang="en-US" sz="1400" spc="5" dirty="0"/>
              <a:t>will</a:t>
            </a:r>
            <a:r>
              <a:rPr lang="en-US" sz="1400" spc="-40" dirty="0"/>
              <a:t> </a:t>
            </a:r>
            <a:r>
              <a:rPr lang="en-US" sz="1400" dirty="0"/>
              <a:t>improve</a:t>
            </a:r>
            <a:r>
              <a:rPr lang="en-US" sz="1400" spc="-25" dirty="0"/>
              <a:t> </a:t>
            </a:r>
            <a:r>
              <a:rPr lang="en-US" sz="1400" dirty="0"/>
              <a:t>our</a:t>
            </a:r>
            <a:r>
              <a:rPr lang="en-US" sz="1400" spc="-15" dirty="0"/>
              <a:t> </a:t>
            </a:r>
            <a:r>
              <a:rPr lang="en-US" sz="1400" dirty="0"/>
              <a:t>ability</a:t>
            </a:r>
            <a:r>
              <a:rPr lang="en-US" sz="1400" spc="-35" dirty="0"/>
              <a:t> </a:t>
            </a:r>
            <a:r>
              <a:rPr lang="en-US" sz="1400" spc="-5" dirty="0"/>
              <a:t>to</a:t>
            </a:r>
            <a:r>
              <a:rPr lang="en-US" sz="1400" spc="5" dirty="0"/>
              <a:t> </a:t>
            </a:r>
            <a:r>
              <a:rPr lang="en-US" sz="1400" dirty="0"/>
              <a:t>balance</a:t>
            </a:r>
            <a:r>
              <a:rPr lang="en-US" sz="1400" spc="-40" dirty="0"/>
              <a:t> </a:t>
            </a:r>
            <a:r>
              <a:rPr lang="en-US" sz="1400" dirty="0"/>
              <a:t>health</a:t>
            </a:r>
            <a:r>
              <a:rPr lang="en-US" sz="1400" spc="-15" dirty="0"/>
              <a:t> </a:t>
            </a:r>
            <a:r>
              <a:rPr lang="en-US" sz="1400" spc="-5" dirty="0"/>
              <a:t>and</a:t>
            </a:r>
            <a:r>
              <a:rPr lang="en-US" sz="1400" spc="5" dirty="0"/>
              <a:t> </a:t>
            </a:r>
            <a:r>
              <a:rPr lang="en-US" sz="1400" dirty="0"/>
              <a:t>economic</a:t>
            </a:r>
            <a:r>
              <a:rPr lang="en-US" sz="1400" spc="-45" dirty="0"/>
              <a:t> </a:t>
            </a:r>
            <a:r>
              <a:rPr lang="en-US" sz="1400" spc="-5" dirty="0"/>
              <a:t>hardship.</a:t>
            </a:r>
            <a:endParaRPr lang="en-US" sz="1400" dirty="0"/>
          </a:p>
          <a:p>
            <a:pPr marL="465750" lvl="1" indent="-285750"/>
            <a:endParaRPr lang="en-US" dirty="0"/>
          </a:p>
        </p:txBody>
      </p:sp>
      <p:pic>
        <p:nvPicPr>
          <p:cNvPr id="4" name="object 6">
            <a:extLst>
              <a:ext uri="{FF2B5EF4-FFF2-40B4-BE49-F238E27FC236}">
                <a16:creationId xmlns:a16="http://schemas.microsoft.com/office/drawing/2014/main" xmlns="" id="{FDD562F0-C60B-4B87-9EBA-1E8A0E724232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88063" y="1468490"/>
            <a:ext cx="5688401" cy="2279645"/>
          </a:xfrm>
          <a:prstGeom prst="rect">
            <a:avLst/>
          </a:prstGeom>
        </p:spPr>
      </p:pic>
      <p:sp>
        <p:nvSpPr>
          <p:cNvPr id="5" name="object 7">
            <a:extLst>
              <a:ext uri="{FF2B5EF4-FFF2-40B4-BE49-F238E27FC236}">
                <a16:creationId xmlns:a16="http://schemas.microsoft.com/office/drawing/2014/main" xmlns="" id="{3C5AA60A-8799-4952-B618-4120630DBC8F}"/>
              </a:ext>
            </a:extLst>
          </p:cNvPr>
          <p:cNvSpPr txBox="1"/>
          <p:nvPr/>
        </p:nvSpPr>
        <p:spPr>
          <a:xfrm>
            <a:off x="2399168" y="1122045"/>
            <a:ext cx="2069708" cy="11541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spcBef>
                <a:spcPts val="120"/>
              </a:spcBef>
            </a:pPr>
            <a:r>
              <a:rPr sz="650" b="1" spc="10" dirty="0">
                <a:latin typeface="Century Gothic"/>
                <a:cs typeface="Century Gothic"/>
              </a:rPr>
              <a:t>TEST</a:t>
            </a:r>
            <a:r>
              <a:rPr sz="650" b="1" spc="5" dirty="0">
                <a:latin typeface="Century Gothic"/>
                <a:cs typeface="Century Gothic"/>
              </a:rPr>
              <a:t> </a:t>
            </a:r>
            <a:r>
              <a:rPr sz="650" b="1" spc="10" dirty="0">
                <a:latin typeface="Century Gothic"/>
                <a:cs typeface="Century Gothic"/>
              </a:rPr>
              <a:t>POSITIVITY</a:t>
            </a:r>
            <a:r>
              <a:rPr sz="650" b="1" spc="-10" dirty="0">
                <a:latin typeface="Century Gothic"/>
                <a:cs typeface="Century Gothic"/>
              </a:rPr>
              <a:t> </a:t>
            </a:r>
            <a:r>
              <a:rPr sz="650" b="1" spc="10" dirty="0">
                <a:latin typeface="Century Gothic"/>
                <a:cs typeface="Century Gothic"/>
              </a:rPr>
              <a:t>OVER</a:t>
            </a:r>
            <a:r>
              <a:rPr sz="650" b="1" spc="-5" dirty="0">
                <a:latin typeface="Century Gothic"/>
                <a:cs typeface="Century Gothic"/>
              </a:rPr>
              <a:t> </a:t>
            </a:r>
            <a:r>
              <a:rPr sz="650" b="1" spc="10" dirty="0">
                <a:latin typeface="Century Gothic"/>
                <a:cs typeface="Century Gothic"/>
              </a:rPr>
              <a:t>TIME</a:t>
            </a:r>
            <a:r>
              <a:rPr sz="650" b="1" spc="-5" dirty="0">
                <a:latin typeface="Century Gothic"/>
                <a:cs typeface="Century Gothic"/>
              </a:rPr>
              <a:t> </a:t>
            </a:r>
            <a:r>
              <a:rPr sz="650" b="1" spc="10" dirty="0">
                <a:latin typeface="Century Gothic"/>
                <a:cs typeface="Century Gothic"/>
              </a:rPr>
              <a:t>(WC</a:t>
            </a:r>
            <a:r>
              <a:rPr sz="650" b="1" spc="25" dirty="0">
                <a:latin typeface="Century Gothic"/>
                <a:cs typeface="Century Gothic"/>
              </a:rPr>
              <a:t> </a:t>
            </a:r>
            <a:r>
              <a:rPr sz="650" b="1" spc="10" dirty="0">
                <a:latin typeface="Century Gothic"/>
                <a:cs typeface="Century Gothic"/>
              </a:rPr>
              <a:t>DOH</a:t>
            </a:r>
            <a:r>
              <a:rPr sz="650" spc="10" dirty="0">
                <a:latin typeface="Century Gothic"/>
                <a:cs typeface="Century Gothic"/>
              </a:rPr>
              <a:t>)</a:t>
            </a:r>
            <a:endParaRPr sz="650">
              <a:latin typeface="Century Gothic"/>
              <a:cs typeface="Century Gothic"/>
            </a:endParaRPr>
          </a:p>
        </p:txBody>
      </p:sp>
      <p:pic>
        <p:nvPicPr>
          <p:cNvPr id="6" name="object 15">
            <a:extLst>
              <a:ext uri="{FF2B5EF4-FFF2-40B4-BE49-F238E27FC236}">
                <a16:creationId xmlns:a16="http://schemas.microsoft.com/office/drawing/2014/main" xmlns="" id="{9CDC7D7A-F24C-48CA-8D4A-085FDBA7A075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339388" y="1777510"/>
            <a:ext cx="887454" cy="468465"/>
          </a:xfrm>
          <a:prstGeom prst="rect">
            <a:avLst/>
          </a:prstGeom>
        </p:spPr>
      </p:pic>
      <p:sp>
        <p:nvSpPr>
          <p:cNvPr id="7" name="object 16">
            <a:extLst>
              <a:ext uri="{FF2B5EF4-FFF2-40B4-BE49-F238E27FC236}">
                <a16:creationId xmlns:a16="http://schemas.microsoft.com/office/drawing/2014/main" xmlns="" id="{6F110644-320D-4C9F-AC45-44E2F2218C82}"/>
              </a:ext>
            </a:extLst>
          </p:cNvPr>
          <p:cNvSpPr txBox="1"/>
          <p:nvPr/>
        </p:nvSpPr>
        <p:spPr>
          <a:xfrm>
            <a:off x="7464102" y="1838851"/>
            <a:ext cx="612259" cy="2122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300" spc="-10" dirty="0">
                <a:solidFill>
                  <a:srgbClr val="FFFFFF"/>
                </a:solidFill>
                <a:latin typeface="Century Gothic"/>
                <a:cs typeface="Century Gothic"/>
              </a:rPr>
              <a:t>Health</a:t>
            </a:r>
            <a:endParaRPr sz="1300">
              <a:latin typeface="Century Gothic"/>
              <a:cs typeface="Century Gothic"/>
            </a:endParaRPr>
          </a:p>
        </p:txBody>
      </p:sp>
      <p:pic>
        <p:nvPicPr>
          <p:cNvPr id="8" name="object 17">
            <a:extLst>
              <a:ext uri="{FF2B5EF4-FFF2-40B4-BE49-F238E27FC236}">
                <a16:creationId xmlns:a16="http://schemas.microsoft.com/office/drawing/2014/main" xmlns="" id="{9A7AF33B-D552-425F-81EC-6C92E7099F2A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9165138" y="1957344"/>
            <a:ext cx="988147" cy="439062"/>
          </a:xfrm>
          <a:prstGeom prst="rect">
            <a:avLst/>
          </a:prstGeom>
        </p:spPr>
      </p:pic>
      <p:sp>
        <p:nvSpPr>
          <p:cNvPr id="9" name="object 18">
            <a:extLst>
              <a:ext uri="{FF2B5EF4-FFF2-40B4-BE49-F238E27FC236}">
                <a16:creationId xmlns:a16="http://schemas.microsoft.com/office/drawing/2014/main" xmlns="" id="{41A4275C-AEA4-431B-A99F-EEFE3AB51B0C}"/>
              </a:ext>
            </a:extLst>
          </p:cNvPr>
          <p:cNvSpPr txBox="1"/>
          <p:nvPr/>
        </p:nvSpPr>
        <p:spPr>
          <a:xfrm>
            <a:off x="9219243" y="2007761"/>
            <a:ext cx="873944" cy="21223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sz="1300" spc="-10" dirty="0">
                <a:solidFill>
                  <a:srgbClr val="FFFFFF"/>
                </a:solidFill>
                <a:latin typeface="Century Gothic"/>
                <a:cs typeface="Century Gothic"/>
              </a:rPr>
              <a:t>Ec</a:t>
            </a:r>
            <a:r>
              <a:rPr sz="1300" dirty="0">
                <a:solidFill>
                  <a:srgbClr val="FFFFFF"/>
                </a:solidFill>
                <a:latin typeface="Century Gothic"/>
                <a:cs typeface="Century Gothic"/>
              </a:rPr>
              <a:t>o</a:t>
            </a:r>
            <a:r>
              <a:rPr sz="1300" spc="-5" dirty="0">
                <a:solidFill>
                  <a:srgbClr val="FFFFFF"/>
                </a:solidFill>
                <a:latin typeface="Century Gothic"/>
                <a:cs typeface="Century Gothic"/>
              </a:rPr>
              <a:t>nomy</a:t>
            </a:r>
            <a:endParaRPr sz="1300">
              <a:latin typeface="Century Gothic"/>
              <a:cs typeface="Century Gothic"/>
            </a:endParaRPr>
          </a:p>
        </p:txBody>
      </p:sp>
      <p:grpSp>
        <p:nvGrpSpPr>
          <p:cNvPr id="10" name="object 19">
            <a:extLst>
              <a:ext uri="{FF2B5EF4-FFF2-40B4-BE49-F238E27FC236}">
                <a16:creationId xmlns:a16="http://schemas.microsoft.com/office/drawing/2014/main" xmlns="" id="{B252F859-38AA-45E1-A151-4E4A5D8B5506}"/>
              </a:ext>
            </a:extLst>
          </p:cNvPr>
          <p:cNvGrpSpPr/>
          <p:nvPr/>
        </p:nvGrpSpPr>
        <p:grpSpPr>
          <a:xfrm>
            <a:off x="7339387" y="2285345"/>
            <a:ext cx="3044938" cy="1136859"/>
            <a:chOff x="5643371" y="2068067"/>
            <a:chExt cx="2719070" cy="883919"/>
          </a:xfrm>
        </p:grpSpPr>
        <p:pic>
          <p:nvPicPr>
            <p:cNvPr id="11" name="object 20">
              <a:extLst>
                <a:ext uri="{FF2B5EF4-FFF2-40B4-BE49-F238E27FC236}">
                  <a16:creationId xmlns:a16="http://schemas.microsoft.com/office/drawing/2014/main" xmlns="" id="{CD8A5B4A-E455-4CE5-BA4A-AE033377D1EC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681215" y="2465819"/>
              <a:ext cx="632459" cy="486168"/>
            </a:xfrm>
            <a:prstGeom prst="rect">
              <a:avLst/>
            </a:prstGeom>
          </p:spPr>
        </p:pic>
        <p:pic>
          <p:nvPicPr>
            <p:cNvPr id="12" name="object 21">
              <a:extLst>
                <a:ext uri="{FF2B5EF4-FFF2-40B4-BE49-F238E27FC236}">
                  <a16:creationId xmlns:a16="http://schemas.microsoft.com/office/drawing/2014/main" xmlns="" id="{40348FE5-114C-404D-9A0D-E5ED3A41C67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643371" y="2068067"/>
              <a:ext cx="2718688" cy="514350"/>
            </a:xfrm>
            <a:prstGeom prst="rect">
              <a:avLst/>
            </a:prstGeom>
          </p:spPr>
        </p:pic>
      </p:grp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xmlns="" id="{B3B5A567-AE98-462B-9304-B7EDDCC5D7B9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3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1840036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CB74256D-56BC-4641-B098-1679CBCB2C60}"/>
              </a:ext>
            </a:extLst>
          </p:cNvPr>
          <p:cNvGrpSpPr/>
          <p:nvPr/>
        </p:nvGrpSpPr>
        <p:grpSpPr>
          <a:xfrm>
            <a:off x="1797398" y="1196753"/>
            <a:ext cx="8597205" cy="5040559"/>
            <a:chOff x="1838017" y="1754035"/>
            <a:chExt cx="8215177" cy="384063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EBBCC1BA-8E9A-41C4-B447-03338D6D858D}"/>
                </a:ext>
              </a:extLst>
            </p:cNvPr>
            <p:cNvSpPr/>
            <p:nvPr/>
          </p:nvSpPr>
          <p:spPr>
            <a:xfrm>
              <a:off x="4180547" y="2736556"/>
              <a:ext cx="1254035" cy="66620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dirty="0"/>
                <a:t>Ease of Doing Business</a:t>
              </a:r>
              <a:endParaRPr lang="en-ZA" sz="900" dirty="0" err="1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980355C2-59CB-458E-A208-AC9CF87013A7}"/>
                </a:ext>
              </a:extLst>
            </p:cNvPr>
            <p:cNvSpPr/>
            <p:nvPr/>
          </p:nvSpPr>
          <p:spPr>
            <a:xfrm>
              <a:off x="5716326" y="2712992"/>
              <a:ext cx="1254035" cy="66620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25" dirty="0"/>
                <a:t>Energy Resilience</a:t>
              </a:r>
            </a:p>
            <a:p>
              <a:pPr algn="ctr"/>
              <a:r>
                <a:rPr lang="en-US" sz="825" dirty="0"/>
                <a:t>(</a:t>
              </a:r>
              <a:r>
                <a:rPr lang="en-US" sz="825" dirty="0" err="1"/>
                <a:t>inc.</a:t>
              </a:r>
              <a:r>
                <a:rPr lang="en-US" sz="825" dirty="0"/>
                <a:t> of ASEZ)</a:t>
              </a:r>
              <a:endParaRPr lang="en-ZA" sz="825" dirty="0" err="1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1ED15294-23C8-429D-9438-BC86F4E2F442}"/>
                </a:ext>
              </a:extLst>
            </p:cNvPr>
            <p:cNvSpPr/>
            <p:nvPr/>
          </p:nvSpPr>
          <p:spPr>
            <a:xfrm>
              <a:off x="4180547" y="3778598"/>
              <a:ext cx="1254035" cy="4371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dirty="0"/>
                <a:t>Data Modeling &amp; Research</a:t>
              </a:r>
              <a:endParaRPr lang="en-ZA" sz="788" dirty="0" err="1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BC18E85E-ABA9-4BA5-9739-C1F442CDED6C}"/>
                </a:ext>
              </a:extLst>
            </p:cNvPr>
            <p:cNvSpPr/>
            <p:nvPr/>
          </p:nvSpPr>
          <p:spPr>
            <a:xfrm>
              <a:off x="5747258" y="3778598"/>
              <a:ext cx="1254035" cy="4371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dirty="0"/>
                <a:t>Policy Development</a:t>
              </a:r>
              <a:endParaRPr lang="en-ZA" sz="788" dirty="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35804953-69E9-4617-B611-0F36397FACFE}"/>
                </a:ext>
              </a:extLst>
            </p:cNvPr>
            <p:cNvSpPr/>
            <p:nvPr/>
          </p:nvSpPr>
          <p:spPr>
            <a:xfrm>
              <a:off x="7302512" y="3778598"/>
              <a:ext cx="1254035" cy="4371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dirty="0"/>
                <a:t>Communications </a:t>
              </a:r>
              <a:endParaRPr lang="en-ZA" sz="788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D65D156A-5AEB-4449-957E-F6071DB4BC2E}"/>
                </a:ext>
              </a:extLst>
            </p:cNvPr>
            <p:cNvSpPr/>
            <p:nvPr/>
          </p:nvSpPr>
          <p:spPr>
            <a:xfrm>
              <a:off x="1890269" y="2842805"/>
              <a:ext cx="1553119" cy="27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675" b="1" dirty="0">
                  <a:solidFill>
                    <a:srgbClr val="00329B"/>
                  </a:solidFill>
                </a:rPr>
                <a:t>Primary Priorities</a:t>
              </a:r>
              <a:endParaRPr lang="en-ZA" sz="675" b="1" dirty="0" err="1">
                <a:solidFill>
                  <a:srgbClr val="00329B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92AF82F9-E7AF-4558-8782-870AC3B56085}"/>
                </a:ext>
              </a:extLst>
            </p:cNvPr>
            <p:cNvSpPr/>
            <p:nvPr/>
          </p:nvSpPr>
          <p:spPr>
            <a:xfrm>
              <a:off x="1838018" y="3862996"/>
              <a:ext cx="1553119" cy="27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675" b="1" dirty="0">
                  <a:solidFill>
                    <a:srgbClr val="00329B"/>
                  </a:solidFill>
                </a:rPr>
                <a:t>Enabling Priorities</a:t>
              </a:r>
              <a:endParaRPr lang="en-ZA" sz="675" b="1" dirty="0" err="1">
                <a:solidFill>
                  <a:srgbClr val="00329B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A576CDD0-D42A-47EA-B478-4AC6CC5E753D}"/>
                </a:ext>
              </a:extLst>
            </p:cNvPr>
            <p:cNvSpPr/>
            <p:nvPr/>
          </p:nvSpPr>
          <p:spPr>
            <a:xfrm>
              <a:off x="4356896" y="5157508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Sector Development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B525C089-FB15-40FE-9697-3AB53AB5A0FB}"/>
                </a:ext>
              </a:extLst>
            </p:cNvPr>
            <p:cNvSpPr/>
            <p:nvPr/>
          </p:nvSpPr>
          <p:spPr>
            <a:xfrm>
              <a:off x="5089309" y="4572060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Catalytic Economic Infrastructure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B54428EB-81BF-488D-B631-8EE69B9AC2C0}"/>
                </a:ext>
              </a:extLst>
            </p:cNvPr>
            <p:cNvSpPr/>
            <p:nvPr/>
          </p:nvSpPr>
          <p:spPr>
            <a:xfrm>
              <a:off x="3720974" y="4572060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SMMEs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33F4503E-3387-42F3-8A31-70ABBDC9F20C}"/>
                </a:ext>
              </a:extLst>
            </p:cNvPr>
            <p:cNvSpPr/>
            <p:nvPr/>
          </p:nvSpPr>
          <p:spPr>
            <a:xfrm>
              <a:off x="7825978" y="4572060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Consumer Protection 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B2D58980-F6DA-4C40-845F-7E2F185C8345}"/>
                </a:ext>
              </a:extLst>
            </p:cNvPr>
            <p:cNvSpPr/>
            <p:nvPr/>
          </p:nvSpPr>
          <p:spPr>
            <a:xfrm>
              <a:off x="6457643" y="4572060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Digital &amp; Innovation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0B6CD3D3-9556-4717-83E9-FC135D9FDBCD}"/>
                </a:ext>
              </a:extLst>
            </p:cNvPr>
            <p:cNvSpPr/>
            <p:nvPr/>
          </p:nvSpPr>
          <p:spPr>
            <a:xfrm>
              <a:off x="8648046" y="5157507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Municipalities &amp; </a:t>
              </a:r>
              <a:r>
                <a:rPr lang="en-US" sz="675">
                  <a:solidFill>
                    <a:srgbClr val="00329B"/>
                  </a:solidFill>
                </a:rPr>
                <a:t>Spatial 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2BCADC49-157D-4BD6-92E9-4D1C7C931986}"/>
                </a:ext>
              </a:extLst>
            </p:cNvPr>
            <p:cNvSpPr/>
            <p:nvPr/>
          </p:nvSpPr>
          <p:spPr>
            <a:xfrm>
              <a:off x="5716326" y="1754035"/>
              <a:ext cx="1254035" cy="66620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00329B"/>
                  </a:solidFill>
                </a:rPr>
                <a:t>Jobs </a:t>
              </a:r>
              <a:endParaRPr lang="en-ZA" sz="1200" dirty="0" err="1">
                <a:solidFill>
                  <a:srgbClr val="00329B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4EB30010-03C9-494B-9C6D-0176F622276F}"/>
                </a:ext>
              </a:extLst>
            </p:cNvPr>
            <p:cNvSpPr/>
            <p:nvPr/>
          </p:nvSpPr>
          <p:spPr>
            <a:xfrm>
              <a:off x="2926512" y="5157509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Skills Development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7A535D13-E31C-470E-A721-A0C0DDB3C0BA}"/>
                </a:ext>
              </a:extLst>
            </p:cNvPr>
            <p:cNvSpPr/>
            <p:nvPr/>
          </p:nvSpPr>
          <p:spPr>
            <a:xfrm>
              <a:off x="5787279" y="5157508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Economic Advocacy &amp; Stakeholder Co-</a:t>
              </a:r>
              <a:r>
                <a:rPr lang="en-US" sz="675" dirty="0" err="1">
                  <a:solidFill>
                    <a:srgbClr val="00329B"/>
                  </a:solidFill>
                </a:rPr>
                <a:t>ord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84A33014-4E48-47E0-A7CF-AF24614790CD}"/>
                </a:ext>
              </a:extLst>
            </p:cNvPr>
            <p:cNvSpPr/>
            <p:nvPr/>
          </p:nvSpPr>
          <p:spPr>
            <a:xfrm>
              <a:off x="7217663" y="5157508"/>
              <a:ext cx="1254035" cy="43715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32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675" dirty="0">
                  <a:solidFill>
                    <a:srgbClr val="00329B"/>
                  </a:solidFill>
                </a:rPr>
                <a:t>Green Economy</a:t>
              </a:r>
              <a:endParaRPr lang="en-ZA" sz="675" dirty="0" err="1">
                <a:solidFill>
                  <a:srgbClr val="00329B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xmlns="" id="{B4E742C4-6722-4B15-B3B4-6F929FCA593C}"/>
                </a:ext>
              </a:extLst>
            </p:cNvPr>
            <p:cNvSpPr/>
            <p:nvPr/>
          </p:nvSpPr>
          <p:spPr>
            <a:xfrm>
              <a:off x="1838017" y="4671883"/>
              <a:ext cx="1553119" cy="27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675" b="1" dirty="0">
                  <a:solidFill>
                    <a:srgbClr val="00329B"/>
                  </a:solidFill>
                </a:rPr>
                <a:t>The Foundation</a:t>
              </a:r>
              <a:endParaRPr lang="en-ZA" sz="675" b="1" dirty="0" err="1">
                <a:solidFill>
                  <a:srgbClr val="00329B"/>
                </a:solidFill>
              </a:endParaRP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xmlns="" id="{F82BA428-EA4B-4991-950E-14A0B8A05CEF}"/>
                </a:ext>
              </a:extLst>
            </p:cNvPr>
            <p:cNvCxnSpPr/>
            <p:nvPr/>
          </p:nvCxnSpPr>
          <p:spPr>
            <a:xfrm>
              <a:off x="1947691" y="3522073"/>
              <a:ext cx="8105503" cy="0"/>
            </a:xfrm>
            <a:prstGeom prst="line">
              <a:avLst/>
            </a:prstGeom>
            <a:ln w="6350">
              <a:solidFill>
                <a:srgbClr val="00329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xmlns="" id="{5D4484D6-F0A9-462E-8BC5-E506CA00028F}"/>
                </a:ext>
              </a:extLst>
            </p:cNvPr>
            <p:cNvCxnSpPr/>
            <p:nvPr/>
          </p:nvCxnSpPr>
          <p:spPr>
            <a:xfrm>
              <a:off x="1890269" y="4478927"/>
              <a:ext cx="8105503" cy="0"/>
            </a:xfrm>
            <a:prstGeom prst="line">
              <a:avLst/>
            </a:prstGeom>
            <a:ln w="6350">
              <a:solidFill>
                <a:srgbClr val="00329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xmlns="" id="{2A847418-9877-4D3A-961F-B5DB74F19A8B}"/>
                </a:ext>
              </a:extLst>
            </p:cNvPr>
            <p:cNvCxnSpPr/>
            <p:nvPr/>
          </p:nvCxnSpPr>
          <p:spPr>
            <a:xfrm>
              <a:off x="1947691" y="2571750"/>
              <a:ext cx="8105503" cy="0"/>
            </a:xfrm>
            <a:prstGeom prst="line">
              <a:avLst/>
            </a:prstGeom>
            <a:ln w="6350">
              <a:solidFill>
                <a:srgbClr val="00329B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xmlns="" id="{90D390C4-309A-4731-9286-85F690659D63}"/>
                </a:ext>
              </a:extLst>
            </p:cNvPr>
            <p:cNvSpPr/>
            <p:nvPr/>
          </p:nvSpPr>
          <p:spPr>
            <a:xfrm>
              <a:off x="1890268" y="1952393"/>
              <a:ext cx="1553119" cy="27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675" b="1" dirty="0">
                  <a:solidFill>
                    <a:srgbClr val="00329B"/>
                  </a:solidFill>
                </a:rPr>
                <a:t>Long term Goal</a:t>
              </a:r>
              <a:endParaRPr lang="en-ZA" sz="675" b="1" dirty="0" err="1">
                <a:solidFill>
                  <a:srgbClr val="00329B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CE5EA55E-A0F9-49E6-875C-96C53541E3BA}"/>
                </a:ext>
              </a:extLst>
            </p:cNvPr>
            <p:cNvSpPr/>
            <p:nvPr/>
          </p:nvSpPr>
          <p:spPr>
            <a:xfrm>
              <a:off x="7252106" y="2732722"/>
              <a:ext cx="1254035" cy="66620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25" dirty="0"/>
                <a:t>Investment and Export Growth</a:t>
              </a:r>
              <a:endParaRPr lang="en-ZA" sz="825" dirty="0" err="1"/>
            </a:p>
          </p:txBody>
        </p:sp>
      </p:grpSp>
      <p:sp>
        <p:nvSpPr>
          <p:cNvPr id="29" name="Title 1">
            <a:extLst>
              <a:ext uri="{FF2B5EF4-FFF2-40B4-BE49-F238E27FC236}">
                <a16:creationId xmlns:a16="http://schemas.microsoft.com/office/drawing/2014/main" xmlns="" id="{3D892E08-77DC-47D5-9795-7BF2D2F396F3}"/>
              </a:ext>
            </a:extLst>
          </p:cNvPr>
          <p:cNvSpPr txBox="1">
            <a:spLocks/>
          </p:cNvSpPr>
          <p:nvPr/>
        </p:nvSpPr>
        <p:spPr>
          <a:xfrm>
            <a:off x="434566" y="107952"/>
            <a:ext cx="11162923" cy="806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spc="-5" dirty="0">
                <a:solidFill>
                  <a:srgbClr val="003399"/>
                </a:solidFill>
                <a:latin typeface="Century Gothic"/>
              </a:rPr>
              <a:t>DEDAT’s prioritization of Economic Recovery Plan in the face of fiscal</a:t>
            </a:r>
          </a:p>
          <a:p>
            <a:pPr marL="12700">
              <a:spcBef>
                <a:spcPts val="100"/>
              </a:spcBef>
            </a:pPr>
            <a:r>
              <a:rPr lang="en-US" spc="-5" dirty="0">
                <a:solidFill>
                  <a:srgbClr val="003399"/>
                </a:solidFill>
                <a:latin typeface="Century Gothic"/>
              </a:rPr>
              <a:t>constraints</a:t>
            </a:r>
            <a:endParaRPr lang="en-ZA" spc="-5" dirty="0">
              <a:solidFill>
                <a:srgbClr val="003399"/>
              </a:solidFill>
              <a:latin typeface="Century Gothic"/>
            </a:endParaRPr>
          </a:p>
        </p:txBody>
      </p:sp>
      <p:sp>
        <p:nvSpPr>
          <p:cNvPr id="31" name="Slide Number Placeholder 2">
            <a:extLst>
              <a:ext uri="{FF2B5EF4-FFF2-40B4-BE49-F238E27FC236}">
                <a16:creationId xmlns:a16="http://schemas.microsoft.com/office/drawing/2014/main" xmlns="" id="{281FE5EF-6F2D-4B7D-919C-9A6C5C61B1B9}"/>
              </a:ext>
            </a:extLst>
          </p:cNvPr>
          <p:cNvSpPr txBox="1">
            <a:spLocks/>
          </p:cNvSpPr>
          <p:nvPr/>
        </p:nvSpPr>
        <p:spPr>
          <a:xfrm>
            <a:off x="11254555" y="6519216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4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1315175881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2060"/>
                </a:solidFill>
              </a:rPr>
              <a:t>DEDAT Key Priority Budget Allocations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413573" y="1253798"/>
            <a:ext cx="11285340" cy="5469100"/>
            <a:chOff x="398388" y="1223248"/>
            <a:chExt cx="11285340" cy="5469100"/>
          </a:xfrm>
        </p:grpSpPr>
        <p:sp>
          <p:nvSpPr>
            <p:cNvPr id="30" name="Freeform 29"/>
            <p:cNvSpPr/>
            <p:nvPr/>
          </p:nvSpPr>
          <p:spPr>
            <a:xfrm>
              <a:off x="398388" y="1223248"/>
              <a:ext cx="1571774" cy="5469100"/>
            </a:xfrm>
            <a:custGeom>
              <a:avLst/>
              <a:gdLst>
                <a:gd name="connsiteX0" fmla="*/ 0 w 1571774"/>
                <a:gd name="connsiteY0" fmla="*/ 157177 h 5469100"/>
                <a:gd name="connsiteX1" fmla="*/ 157177 w 1571774"/>
                <a:gd name="connsiteY1" fmla="*/ 0 h 5469100"/>
                <a:gd name="connsiteX2" fmla="*/ 1414597 w 1571774"/>
                <a:gd name="connsiteY2" fmla="*/ 0 h 5469100"/>
                <a:gd name="connsiteX3" fmla="*/ 1571774 w 1571774"/>
                <a:gd name="connsiteY3" fmla="*/ 157177 h 5469100"/>
                <a:gd name="connsiteX4" fmla="*/ 1571774 w 1571774"/>
                <a:gd name="connsiteY4" fmla="*/ 5311923 h 5469100"/>
                <a:gd name="connsiteX5" fmla="*/ 1414597 w 1571774"/>
                <a:gd name="connsiteY5" fmla="*/ 5469100 h 5469100"/>
                <a:gd name="connsiteX6" fmla="*/ 157177 w 1571774"/>
                <a:gd name="connsiteY6" fmla="*/ 5469100 h 5469100"/>
                <a:gd name="connsiteX7" fmla="*/ 0 w 1571774"/>
                <a:gd name="connsiteY7" fmla="*/ 5311923 h 5469100"/>
                <a:gd name="connsiteX8" fmla="*/ 0 w 1571774"/>
                <a:gd name="connsiteY8" fmla="*/ 157177 h 546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1774" h="5469100">
                  <a:moveTo>
                    <a:pt x="0" y="157177"/>
                  </a:moveTo>
                  <a:cubicBezTo>
                    <a:pt x="0" y="70371"/>
                    <a:pt x="70371" y="0"/>
                    <a:pt x="157177" y="0"/>
                  </a:cubicBezTo>
                  <a:lnTo>
                    <a:pt x="1414597" y="0"/>
                  </a:lnTo>
                  <a:cubicBezTo>
                    <a:pt x="1501403" y="0"/>
                    <a:pt x="1571774" y="70371"/>
                    <a:pt x="1571774" y="157177"/>
                  </a:cubicBezTo>
                  <a:lnTo>
                    <a:pt x="1571774" y="5311923"/>
                  </a:lnTo>
                  <a:cubicBezTo>
                    <a:pt x="1571774" y="5398729"/>
                    <a:pt x="1501403" y="5469100"/>
                    <a:pt x="1414597" y="5469100"/>
                  </a:cubicBezTo>
                  <a:lnTo>
                    <a:pt x="157177" y="5469100"/>
                  </a:lnTo>
                  <a:cubicBezTo>
                    <a:pt x="70371" y="5469100"/>
                    <a:pt x="0" y="5398729"/>
                    <a:pt x="0" y="5311923"/>
                  </a:cubicBezTo>
                  <a:lnTo>
                    <a:pt x="0" y="157177"/>
                  </a:lnTo>
                  <a:close/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2301432" rIns="113792" bIns="1207612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 </a:t>
              </a:r>
              <a:r>
                <a:rPr lang="en-US" sz="1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57.810</a:t>
              </a:r>
              <a:r>
                <a:rPr lang="en-US" sz="1600" b="1" kern="1200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million</a:t>
              </a: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433456" y="1372414"/>
              <a:ext cx="1477467" cy="1172003"/>
            </a:xfrm>
            <a:prstGeom prst="roundRect">
              <a:avLst/>
            </a:prstGeom>
            <a:blipFill rotWithShape="1">
              <a:blip r:embed="rId2" cstate="print"/>
              <a:stretch>
                <a:fillRect/>
              </a:stretch>
            </a:blip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Freeform 31"/>
            <p:cNvSpPr/>
            <p:nvPr/>
          </p:nvSpPr>
          <p:spPr>
            <a:xfrm>
              <a:off x="2017316" y="1223248"/>
              <a:ext cx="1571774" cy="5469100"/>
            </a:xfrm>
            <a:custGeom>
              <a:avLst/>
              <a:gdLst>
                <a:gd name="connsiteX0" fmla="*/ 0 w 1571774"/>
                <a:gd name="connsiteY0" fmla="*/ 157177 h 5469100"/>
                <a:gd name="connsiteX1" fmla="*/ 157177 w 1571774"/>
                <a:gd name="connsiteY1" fmla="*/ 0 h 5469100"/>
                <a:gd name="connsiteX2" fmla="*/ 1414597 w 1571774"/>
                <a:gd name="connsiteY2" fmla="*/ 0 h 5469100"/>
                <a:gd name="connsiteX3" fmla="*/ 1571774 w 1571774"/>
                <a:gd name="connsiteY3" fmla="*/ 157177 h 5469100"/>
                <a:gd name="connsiteX4" fmla="*/ 1571774 w 1571774"/>
                <a:gd name="connsiteY4" fmla="*/ 5311923 h 5469100"/>
                <a:gd name="connsiteX5" fmla="*/ 1414597 w 1571774"/>
                <a:gd name="connsiteY5" fmla="*/ 5469100 h 5469100"/>
                <a:gd name="connsiteX6" fmla="*/ 157177 w 1571774"/>
                <a:gd name="connsiteY6" fmla="*/ 5469100 h 5469100"/>
                <a:gd name="connsiteX7" fmla="*/ 0 w 1571774"/>
                <a:gd name="connsiteY7" fmla="*/ 5311923 h 5469100"/>
                <a:gd name="connsiteX8" fmla="*/ 0 w 1571774"/>
                <a:gd name="connsiteY8" fmla="*/ 157177 h 546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1774" h="5469100">
                  <a:moveTo>
                    <a:pt x="0" y="157177"/>
                  </a:moveTo>
                  <a:cubicBezTo>
                    <a:pt x="0" y="70371"/>
                    <a:pt x="70371" y="0"/>
                    <a:pt x="157177" y="0"/>
                  </a:cubicBezTo>
                  <a:lnTo>
                    <a:pt x="1414597" y="0"/>
                  </a:lnTo>
                  <a:cubicBezTo>
                    <a:pt x="1501403" y="0"/>
                    <a:pt x="1571774" y="70371"/>
                    <a:pt x="1571774" y="157177"/>
                  </a:cubicBezTo>
                  <a:lnTo>
                    <a:pt x="1571774" y="5311923"/>
                  </a:lnTo>
                  <a:cubicBezTo>
                    <a:pt x="1571774" y="5398729"/>
                    <a:pt x="1501403" y="5469100"/>
                    <a:pt x="1414597" y="5469100"/>
                  </a:cubicBezTo>
                  <a:lnTo>
                    <a:pt x="157177" y="5469100"/>
                  </a:lnTo>
                  <a:cubicBezTo>
                    <a:pt x="70371" y="5469100"/>
                    <a:pt x="0" y="5398729"/>
                    <a:pt x="0" y="5311923"/>
                  </a:cubicBezTo>
                  <a:lnTo>
                    <a:pt x="0" y="157177"/>
                  </a:lnTo>
                  <a:close/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2301432" rIns="113792" bIns="1207612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 230.043 million</a:t>
              </a: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2052383" y="1372414"/>
              <a:ext cx="1477467" cy="1172003"/>
            </a:xfrm>
            <a:prstGeom prst="roundRect">
              <a:avLst/>
            </a:prstGeom>
            <a:blipFill dpi="0" rotWithShape="1"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Freeform 33"/>
            <p:cNvSpPr/>
            <p:nvPr/>
          </p:nvSpPr>
          <p:spPr>
            <a:xfrm>
              <a:off x="3636244" y="1223248"/>
              <a:ext cx="1571774" cy="5469100"/>
            </a:xfrm>
            <a:custGeom>
              <a:avLst/>
              <a:gdLst>
                <a:gd name="connsiteX0" fmla="*/ 0 w 1571774"/>
                <a:gd name="connsiteY0" fmla="*/ 157177 h 5469100"/>
                <a:gd name="connsiteX1" fmla="*/ 157177 w 1571774"/>
                <a:gd name="connsiteY1" fmla="*/ 0 h 5469100"/>
                <a:gd name="connsiteX2" fmla="*/ 1414597 w 1571774"/>
                <a:gd name="connsiteY2" fmla="*/ 0 h 5469100"/>
                <a:gd name="connsiteX3" fmla="*/ 1571774 w 1571774"/>
                <a:gd name="connsiteY3" fmla="*/ 157177 h 5469100"/>
                <a:gd name="connsiteX4" fmla="*/ 1571774 w 1571774"/>
                <a:gd name="connsiteY4" fmla="*/ 5311923 h 5469100"/>
                <a:gd name="connsiteX5" fmla="*/ 1414597 w 1571774"/>
                <a:gd name="connsiteY5" fmla="*/ 5469100 h 5469100"/>
                <a:gd name="connsiteX6" fmla="*/ 157177 w 1571774"/>
                <a:gd name="connsiteY6" fmla="*/ 5469100 h 5469100"/>
                <a:gd name="connsiteX7" fmla="*/ 0 w 1571774"/>
                <a:gd name="connsiteY7" fmla="*/ 5311923 h 5469100"/>
                <a:gd name="connsiteX8" fmla="*/ 0 w 1571774"/>
                <a:gd name="connsiteY8" fmla="*/ 157177 h 546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1774" h="5469100">
                  <a:moveTo>
                    <a:pt x="0" y="157177"/>
                  </a:moveTo>
                  <a:cubicBezTo>
                    <a:pt x="0" y="70371"/>
                    <a:pt x="70371" y="0"/>
                    <a:pt x="157177" y="0"/>
                  </a:cubicBezTo>
                  <a:lnTo>
                    <a:pt x="1414597" y="0"/>
                  </a:lnTo>
                  <a:cubicBezTo>
                    <a:pt x="1501403" y="0"/>
                    <a:pt x="1571774" y="70371"/>
                    <a:pt x="1571774" y="157177"/>
                  </a:cubicBezTo>
                  <a:lnTo>
                    <a:pt x="1571774" y="5311923"/>
                  </a:lnTo>
                  <a:cubicBezTo>
                    <a:pt x="1571774" y="5398729"/>
                    <a:pt x="1501403" y="5469100"/>
                    <a:pt x="1414597" y="5469100"/>
                  </a:cubicBezTo>
                  <a:lnTo>
                    <a:pt x="157177" y="5469100"/>
                  </a:lnTo>
                  <a:cubicBezTo>
                    <a:pt x="70371" y="5469100"/>
                    <a:pt x="0" y="5398729"/>
                    <a:pt x="0" y="5311923"/>
                  </a:cubicBezTo>
                  <a:lnTo>
                    <a:pt x="0" y="157177"/>
                  </a:lnTo>
                  <a:close/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2301432" rIns="113792" bIns="1207612" numCol="1" spcCol="1270" anchor="ctr" anchorCtr="0">
              <a:noAutofit/>
            </a:bodyPr>
            <a:lstStyle/>
            <a:p>
              <a:pPr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 26.300 million</a:t>
              </a:r>
            </a:p>
          </p:txBody>
        </p:sp>
        <p:sp>
          <p:nvSpPr>
            <p:cNvPr id="35" name="Rounded Rectangle 34"/>
            <p:cNvSpPr/>
            <p:nvPr/>
          </p:nvSpPr>
          <p:spPr>
            <a:xfrm>
              <a:off x="3671311" y="1372414"/>
              <a:ext cx="1477467" cy="1172003"/>
            </a:xfrm>
            <a:prstGeom prst="roundRect">
              <a:avLst/>
            </a:prstGeom>
            <a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 l="-42000" r="-42000"/>
              </a:stretch>
            </a:blip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6" name="Freeform 35"/>
            <p:cNvSpPr/>
            <p:nvPr/>
          </p:nvSpPr>
          <p:spPr>
            <a:xfrm>
              <a:off x="5255171" y="1223248"/>
              <a:ext cx="1571774" cy="5469100"/>
            </a:xfrm>
            <a:custGeom>
              <a:avLst/>
              <a:gdLst>
                <a:gd name="connsiteX0" fmla="*/ 0 w 1571774"/>
                <a:gd name="connsiteY0" fmla="*/ 157177 h 5469100"/>
                <a:gd name="connsiteX1" fmla="*/ 157177 w 1571774"/>
                <a:gd name="connsiteY1" fmla="*/ 0 h 5469100"/>
                <a:gd name="connsiteX2" fmla="*/ 1414597 w 1571774"/>
                <a:gd name="connsiteY2" fmla="*/ 0 h 5469100"/>
                <a:gd name="connsiteX3" fmla="*/ 1571774 w 1571774"/>
                <a:gd name="connsiteY3" fmla="*/ 157177 h 5469100"/>
                <a:gd name="connsiteX4" fmla="*/ 1571774 w 1571774"/>
                <a:gd name="connsiteY4" fmla="*/ 5311923 h 5469100"/>
                <a:gd name="connsiteX5" fmla="*/ 1414597 w 1571774"/>
                <a:gd name="connsiteY5" fmla="*/ 5469100 h 5469100"/>
                <a:gd name="connsiteX6" fmla="*/ 157177 w 1571774"/>
                <a:gd name="connsiteY6" fmla="*/ 5469100 h 5469100"/>
                <a:gd name="connsiteX7" fmla="*/ 0 w 1571774"/>
                <a:gd name="connsiteY7" fmla="*/ 5311923 h 5469100"/>
                <a:gd name="connsiteX8" fmla="*/ 0 w 1571774"/>
                <a:gd name="connsiteY8" fmla="*/ 157177 h 546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1774" h="5469100">
                  <a:moveTo>
                    <a:pt x="0" y="157177"/>
                  </a:moveTo>
                  <a:cubicBezTo>
                    <a:pt x="0" y="70371"/>
                    <a:pt x="70371" y="0"/>
                    <a:pt x="157177" y="0"/>
                  </a:cubicBezTo>
                  <a:lnTo>
                    <a:pt x="1414597" y="0"/>
                  </a:lnTo>
                  <a:cubicBezTo>
                    <a:pt x="1501403" y="0"/>
                    <a:pt x="1571774" y="70371"/>
                    <a:pt x="1571774" y="157177"/>
                  </a:cubicBezTo>
                  <a:lnTo>
                    <a:pt x="1571774" y="5311923"/>
                  </a:lnTo>
                  <a:cubicBezTo>
                    <a:pt x="1571774" y="5398729"/>
                    <a:pt x="1501403" y="5469100"/>
                    <a:pt x="1414597" y="5469100"/>
                  </a:cubicBezTo>
                  <a:lnTo>
                    <a:pt x="157177" y="5469100"/>
                  </a:lnTo>
                  <a:cubicBezTo>
                    <a:pt x="70371" y="5469100"/>
                    <a:pt x="0" y="5398729"/>
                    <a:pt x="0" y="5311923"/>
                  </a:cubicBezTo>
                  <a:lnTo>
                    <a:pt x="0" y="157177"/>
                  </a:lnTo>
                  <a:close/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2301432" rIns="113792" bIns="1207612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 5.100 million</a:t>
              </a: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5290239" y="1372414"/>
              <a:ext cx="1477467" cy="1172003"/>
            </a:xfrm>
            <a:prstGeom prst="roundRect">
              <a:avLst/>
            </a:prstGeom>
            <a:blipFill dpi="0" rotWithShape="1"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8" name="Freeform 37"/>
            <p:cNvSpPr/>
            <p:nvPr/>
          </p:nvSpPr>
          <p:spPr>
            <a:xfrm>
              <a:off x="6874099" y="1223248"/>
              <a:ext cx="1571774" cy="5469100"/>
            </a:xfrm>
            <a:custGeom>
              <a:avLst/>
              <a:gdLst>
                <a:gd name="connsiteX0" fmla="*/ 0 w 1571774"/>
                <a:gd name="connsiteY0" fmla="*/ 157177 h 5469100"/>
                <a:gd name="connsiteX1" fmla="*/ 157177 w 1571774"/>
                <a:gd name="connsiteY1" fmla="*/ 0 h 5469100"/>
                <a:gd name="connsiteX2" fmla="*/ 1414597 w 1571774"/>
                <a:gd name="connsiteY2" fmla="*/ 0 h 5469100"/>
                <a:gd name="connsiteX3" fmla="*/ 1571774 w 1571774"/>
                <a:gd name="connsiteY3" fmla="*/ 157177 h 5469100"/>
                <a:gd name="connsiteX4" fmla="*/ 1571774 w 1571774"/>
                <a:gd name="connsiteY4" fmla="*/ 5311923 h 5469100"/>
                <a:gd name="connsiteX5" fmla="*/ 1414597 w 1571774"/>
                <a:gd name="connsiteY5" fmla="*/ 5469100 h 5469100"/>
                <a:gd name="connsiteX6" fmla="*/ 157177 w 1571774"/>
                <a:gd name="connsiteY6" fmla="*/ 5469100 h 5469100"/>
                <a:gd name="connsiteX7" fmla="*/ 0 w 1571774"/>
                <a:gd name="connsiteY7" fmla="*/ 5311923 h 5469100"/>
                <a:gd name="connsiteX8" fmla="*/ 0 w 1571774"/>
                <a:gd name="connsiteY8" fmla="*/ 157177 h 546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1774" h="5469100">
                  <a:moveTo>
                    <a:pt x="0" y="157177"/>
                  </a:moveTo>
                  <a:cubicBezTo>
                    <a:pt x="0" y="70371"/>
                    <a:pt x="70371" y="0"/>
                    <a:pt x="157177" y="0"/>
                  </a:cubicBezTo>
                  <a:lnTo>
                    <a:pt x="1414597" y="0"/>
                  </a:lnTo>
                  <a:cubicBezTo>
                    <a:pt x="1501403" y="0"/>
                    <a:pt x="1571774" y="70371"/>
                    <a:pt x="1571774" y="157177"/>
                  </a:cubicBezTo>
                  <a:lnTo>
                    <a:pt x="1571774" y="5311923"/>
                  </a:lnTo>
                  <a:cubicBezTo>
                    <a:pt x="1571774" y="5398729"/>
                    <a:pt x="1501403" y="5469100"/>
                    <a:pt x="1414597" y="5469100"/>
                  </a:cubicBezTo>
                  <a:lnTo>
                    <a:pt x="157177" y="5469100"/>
                  </a:lnTo>
                  <a:cubicBezTo>
                    <a:pt x="70371" y="5469100"/>
                    <a:pt x="0" y="5398729"/>
                    <a:pt x="0" y="5311923"/>
                  </a:cubicBezTo>
                  <a:lnTo>
                    <a:pt x="0" y="157177"/>
                  </a:lnTo>
                  <a:close/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2301432" rIns="113792" bIns="1207612" numCol="1" spcCol="1270" anchor="ctr" anchorCtr="0">
              <a:noAutofit/>
            </a:bodyPr>
            <a:lstStyle/>
            <a:p>
              <a:pPr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 39.359 million</a:t>
              </a:r>
            </a:p>
          </p:txBody>
        </p:sp>
        <p:sp>
          <p:nvSpPr>
            <p:cNvPr id="39" name="Rounded Rectangle 38"/>
            <p:cNvSpPr/>
            <p:nvPr/>
          </p:nvSpPr>
          <p:spPr>
            <a:xfrm>
              <a:off x="6909167" y="1372414"/>
              <a:ext cx="1477467" cy="1172003"/>
            </a:xfrm>
            <a:prstGeom prst="roundRect">
              <a:avLst/>
            </a:prstGeom>
            <a:blipFill dpi="0" rotWithShape="1">
              <a:blip r:embed="rId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a:blip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Freeform 39"/>
            <p:cNvSpPr/>
            <p:nvPr/>
          </p:nvSpPr>
          <p:spPr>
            <a:xfrm>
              <a:off x="8493027" y="1223248"/>
              <a:ext cx="1571774" cy="5469100"/>
            </a:xfrm>
            <a:custGeom>
              <a:avLst/>
              <a:gdLst>
                <a:gd name="connsiteX0" fmla="*/ 0 w 1571774"/>
                <a:gd name="connsiteY0" fmla="*/ 157177 h 5469100"/>
                <a:gd name="connsiteX1" fmla="*/ 157177 w 1571774"/>
                <a:gd name="connsiteY1" fmla="*/ 0 h 5469100"/>
                <a:gd name="connsiteX2" fmla="*/ 1414597 w 1571774"/>
                <a:gd name="connsiteY2" fmla="*/ 0 h 5469100"/>
                <a:gd name="connsiteX3" fmla="*/ 1571774 w 1571774"/>
                <a:gd name="connsiteY3" fmla="*/ 157177 h 5469100"/>
                <a:gd name="connsiteX4" fmla="*/ 1571774 w 1571774"/>
                <a:gd name="connsiteY4" fmla="*/ 5311923 h 5469100"/>
                <a:gd name="connsiteX5" fmla="*/ 1414597 w 1571774"/>
                <a:gd name="connsiteY5" fmla="*/ 5469100 h 5469100"/>
                <a:gd name="connsiteX6" fmla="*/ 157177 w 1571774"/>
                <a:gd name="connsiteY6" fmla="*/ 5469100 h 5469100"/>
                <a:gd name="connsiteX7" fmla="*/ 0 w 1571774"/>
                <a:gd name="connsiteY7" fmla="*/ 5311923 h 5469100"/>
                <a:gd name="connsiteX8" fmla="*/ 0 w 1571774"/>
                <a:gd name="connsiteY8" fmla="*/ 157177 h 546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1774" h="5469100">
                  <a:moveTo>
                    <a:pt x="0" y="157177"/>
                  </a:moveTo>
                  <a:cubicBezTo>
                    <a:pt x="0" y="70371"/>
                    <a:pt x="70371" y="0"/>
                    <a:pt x="157177" y="0"/>
                  </a:cubicBezTo>
                  <a:lnTo>
                    <a:pt x="1414597" y="0"/>
                  </a:lnTo>
                  <a:cubicBezTo>
                    <a:pt x="1501403" y="0"/>
                    <a:pt x="1571774" y="70371"/>
                    <a:pt x="1571774" y="157177"/>
                  </a:cubicBezTo>
                  <a:lnTo>
                    <a:pt x="1571774" y="5311923"/>
                  </a:lnTo>
                  <a:cubicBezTo>
                    <a:pt x="1571774" y="5398729"/>
                    <a:pt x="1501403" y="5469100"/>
                    <a:pt x="1414597" y="5469100"/>
                  </a:cubicBezTo>
                  <a:lnTo>
                    <a:pt x="157177" y="5469100"/>
                  </a:lnTo>
                  <a:cubicBezTo>
                    <a:pt x="70371" y="5469100"/>
                    <a:pt x="0" y="5398729"/>
                    <a:pt x="0" y="5311923"/>
                  </a:cubicBezTo>
                  <a:lnTo>
                    <a:pt x="0" y="157177"/>
                  </a:lnTo>
                  <a:close/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2301432" rIns="113792" bIns="1207612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6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1" name="Rounded Rectangle 40"/>
            <p:cNvSpPr/>
            <p:nvPr/>
          </p:nvSpPr>
          <p:spPr>
            <a:xfrm>
              <a:off x="8540180" y="1372414"/>
              <a:ext cx="1477467" cy="1172003"/>
            </a:xfrm>
            <a:prstGeom prst="roundRect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a:blip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  <p:sp>
          <p:nvSpPr>
            <p:cNvPr id="42" name="Freeform 41"/>
            <p:cNvSpPr/>
            <p:nvPr/>
          </p:nvSpPr>
          <p:spPr>
            <a:xfrm>
              <a:off x="10111954" y="1223248"/>
              <a:ext cx="1571774" cy="5469100"/>
            </a:xfrm>
            <a:custGeom>
              <a:avLst/>
              <a:gdLst>
                <a:gd name="connsiteX0" fmla="*/ 0 w 1571774"/>
                <a:gd name="connsiteY0" fmla="*/ 157177 h 5469100"/>
                <a:gd name="connsiteX1" fmla="*/ 157177 w 1571774"/>
                <a:gd name="connsiteY1" fmla="*/ 0 h 5469100"/>
                <a:gd name="connsiteX2" fmla="*/ 1414597 w 1571774"/>
                <a:gd name="connsiteY2" fmla="*/ 0 h 5469100"/>
                <a:gd name="connsiteX3" fmla="*/ 1571774 w 1571774"/>
                <a:gd name="connsiteY3" fmla="*/ 157177 h 5469100"/>
                <a:gd name="connsiteX4" fmla="*/ 1571774 w 1571774"/>
                <a:gd name="connsiteY4" fmla="*/ 5311923 h 5469100"/>
                <a:gd name="connsiteX5" fmla="*/ 1414597 w 1571774"/>
                <a:gd name="connsiteY5" fmla="*/ 5469100 h 5469100"/>
                <a:gd name="connsiteX6" fmla="*/ 157177 w 1571774"/>
                <a:gd name="connsiteY6" fmla="*/ 5469100 h 5469100"/>
                <a:gd name="connsiteX7" fmla="*/ 0 w 1571774"/>
                <a:gd name="connsiteY7" fmla="*/ 5311923 h 5469100"/>
                <a:gd name="connsiteX8" fmla="*/ 0 w 1571774"/>
                <a:gd name="connsiteY8" fmla="*/ 157177 h 546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1774" h="5469100">
                  <a:moveTo>
                    <a:pt x="0" y="157177"/>
                  </a:moveTo>
                  <a:cubicBezTo>
                    <a:pt x="0" y="70371"/>
                    <a:pt x="70371" y="0"/>
                    <a:pt x="157177" y="0"/>
                  </a:cubicBezTo>
                  <a:lnTo>
                    <a:pt x="1414597" y="0"/>
                  </a:lnTo>
                  <a:cubicBezTo>
                    <a:pt x="1501403" y="0"/>
                    <a:pt x="1571774" y="70371"/>
                    <a:pt x="1571774" y="157177"/>
                  </a:cubicBezTo>
                  <a:lnTo>
                    <a:pt x="1571774" y="5311923"/>
                  </a:lnTo>
                  <a:cubicBezTo>
                    <a:pt x="1571774" y="5398729"/>
                    <a:pt x="1501403" y="5469100"/>
                    <a:pt x="1414597" y="5469100"/>
                  </a:cubicBezTo>
                  <a:lnTo>
                    <a:pt x="157177" y="5469100"/>
                  </a:lnTo>
                  <a:cubicBezTo>
                    <a:pt x="70371" y="5469100"/>
                    <a:pt x="0" y="5398729"/>
                    <a:pt x="0" y="5311923"/>
                  </a:cubicBezTo>
                  <a:lnTo>
                    <a:pt x="0" y="157177"/>
                  </a:lnTo>
                  <a:close/>
                </a:path>
              </a:pathLst>
            </a:custGeom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2301432" rIns="113792" bIns="1207612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>
                  <a:solidFill>
                    <a:schemeClr val="tx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 25.150million</a:t>
              </a:r>
            </a:p>
          </p:txBody>
        </p:sp>
        <p:sp>
          <p:nvSpPr>
            <p:cNvPr id="43" name="Rounded Rectangle 42"/>
            <p:cNvSpPr/>
            <p:nvPr/>
          </p:nvSpPr>
          <p:spPr>
            <a:xfrm>
              <a:off x="10147022" y="1372414"/>
              <a:ext cx="1477467" cy="1172003"/>
            </a:xfrm>
            <a:prstGeom prst="roundRect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a:blip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 dirty="0"/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393701" y="2716696"/>
            <a:ext cx="1567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kills Developmen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085347" y="2716695"/>
            <a:ext cx="1481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vestments and Exports</a:t>
            </a:r>
            <a:endParaRPr lang="en-US" sz="1400" dirty="0">
              <a:solidFill>
                <a:schemeClr val="accent1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631095" y="2716696"/>
            <a:ext cx="152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MMEs &amp; Informal Businesses</a:t>
            </a:r>
          </a:p>
          <a:p>
            <a:pPr algn="ctr"/>
            <a:endParaRPr lang="en-US" sz="1400" b="1" dirty="0">
              <a:solidFill>
                <a:schemeClr val="accent1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327374" y="2716695"/>
            <a:ext cx="145773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ase of Doing Business</a:t>
            </a:r>
          </a:p>
          <a:p>
            <a:pPr algn="ctr"/>
            <a:endParaRPr lang="en-US" sz="1400" b="1" dirty="0">
              <a:solidFill>
                <a:schemeClr val="accent1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970643" y="2716695"/>
            <a:ext cx="144448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conomic Resilience</a:t>
            </a:r>
          </a:p>
          <a:p>
            <a:pPr algn="ctr"/>
            <a:endParaRPr lang="en-US" sz="1400" b="1" dirty="0">
              <a:solidFill>
                <a:schemeClr val="accent1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151165" y="2716695"/>
            <a:ext cx="14974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vernance and Research</a:t>
            </a:r>
          </a:p>
          <a:p>
            <a:endParaRPr lang="en-US" sz="1400" b="1" dirty="0">
              <a:solidFill>
                <a:schemeClr val="accent1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400" b="1" dirty="0">
              <a:solidFill>
                <a:schemeClr val="accent1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5222" y="4954037"/>
            <a:ext cx="1056660" cy="584312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8532763" y="2688940"/>
            <a:ext cx="14709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</a:p>
          <a:p>
            <a:pPr algn="ctr"/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conomy</a:t>
            </a:r>
          </a:p>
          <a:p>
            <a:endParaRPr lang="en-US" sz="1400" b="1" dirty="0">
              <a:solidFill>
                <a:schemeClr val="accent1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27719" y="4947037"/>
            <a:ext cx="1056660" cy="584312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81714" y="4947037"/>
            <a:ext cx="1056660" cy="584312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12727" y="4947037"/>
            <a:ext cx="1056660" cy="584312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84615" y="4947037"/>
            <a:ext cx="1056660" cy="584312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574818" y="5441351"/>
            <a:ext cx="118494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400" b="1" dirty="0">
              <a:solidFill>
                <a:srgbClr val="FF0000"/>
              </a:solidFill>
            </a:endParaRPr>
          </a:p>
          <a:p>
            <a:pPr algn="ctr"/>
            <a:r>
              <a:rPr lang="en-US" sz="1400" b="1" u="sng" dirty="0">
                <a:solidFill>
                  <a:srgbClr val="FF0000"/>
                </a:solidFill>
              </a:rPr>
              <a:t>CoE</a:t>
            </a:r>
          </a:p>
          <a:p>
            <a:pPr algn="ctr"/>
            <a:r>
              <a:rPr lang="en-US" sz="1400" b="1" dirty="0">
                <a:solidFill>
                  <a:srgbClr val="FF0000"/>
                </a:solidFill>
              </a:rPr>
              <a:t>R 12.553 million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193746" y="5623411"/>
            <a:ext cx="11849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>
                <a:solidFill>
                  <a:srgbClr val="FF0000"/>
                </a:solidFill>
              </a:rPr>
              <a:t>CoE</a:t>
            </a:r>
          </a:p>
          <a:p>
            <a:pPr algn="ctr"/>
            <a:r>
              <a:rPr lang="en-US" sz="1400" b="1" dirty="0">
                <a:solidFill>
                  <a:srgbClr val="FF0000"/>
                </a:solidFill>
              </a:rPr>
              <a:t>R 22.970 million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3796476" y="5656794"/>
            <a:ext cx="11849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>
                <a:solidFill>
                  <a:srgbClr val="FF0000"/>
                </a:solidFill>
              </a:rPr>
              <a:t>CoE</a:t>
            </a:r>
          </a:p>
          <a:p>
            <a:pPr algn="ctr"/>
            <a:r>
              <a:rPr lang="en-US" sz="1400" b="1" dirty="0">
                <a:solidFill>
                  <a:srgbClr val="FF0000"/>
                </a:solidFill>
              </a:rPr>
              <a:t>R 11.342 million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465575" y="5670491"/>
            <a:ext cx="11849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>
                <a:solidFill>
                  <a:srgbClr val="FF0000"/>
                </a:solidFill>
              </a:rPr>
              <a:t>CoE</a:t>
            </a:r>
          </a:p>
          <a:p>
            <a:pPr algn="ctr"/>
            <a:r>
              <a:rPr lang="en-US" sz="1400" b="1" dirty="0">
                <a:solidFill>
                  <a:srgbClr val="FF0000"/>
                </a:solidFill>
              </a:rPr>
              <a:t>R 8.615 million</a:t>
            </a: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69510" y="4954037"/>
            <a:ext cx="1056660" cy="584312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7037349" y="5685766"/>
            <a:ext cx="11849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>
                <a:solidFill>
                  <a:srgbClr val="FF0000"/>
                </a:solidFill>
              </a:rPr>
              <a:t>CoE</a:t>
            </a:r>
          </a:p>
          <a:p>
            <a:pPr algn="ctr"/>
            <a:r>
              <a:rPr lang="en-US" sz="1400" b="1" dirty="0">
                <a:solidFill>
                  <a:srgbClr val="FF0000"/>
                </a:solidFill>
              </a:rPr>
              <a:t>R 8.377 million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0305369" y="5685766"/>
            <a:ext cx="11849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>
                <a:solidFill>
                  <a:srgbClr val="FF0000"/>
                </a:solidFill>
              </a:rPr>
              <a:t>CoE</a:t>
            </a:r>
          </a:p>
          <a:p>
            <a:pPr algn="ctr"/>
            <a:r>
              <a:rPr lang="en-US" sz="1400" b="1" dirty="0">
                <a:solidFill>
                  <a:srgbClr val="FF0000"/>
                </a:solidFill>
              </a:rPr>
              <a:t>R 61.118 mill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A411C5A-051E-401E-AFD1-63C76462EDFE}"/>
              </a:ext>
            </a:extLst>
          </p:cNvPr>
          <p:cNvSpPr/>
          <p:nvPr/>
        </p:nvSpPr>
        <p:spPr>
          <a:xfrm>
            <a:off x="8573196" y="4359072"/>
            <a:ext cx="1390124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1.500 million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xmlns="" id="{0681FE98-4691-4809-9807-B57BAE97378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739928" y="4947037"/>
            <a:ext cx="1056660" cy="584312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ED0DC790-C0A5-4D92-BED7-475872A40A56}"/>
              </a:ext>
            </a:extLst>
          </p:cNvPr>
          <p:cNvSpPr txBox="1"/>
          <p:nvPr/>
        </p:nvSpPr>
        <p:spPr>
          <a:xfrm>
            <a:off x="8733596" y="5685766"/>
            <a:ext cx="118494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>
                <a:solidFill>
                  <a:srgbClr val="FF0000"/>
                </a:solidFill>
              </a:rPr>
              <a:t>CoE</a:t>
            </a:r>
          </a:p>
          <a:p>
            <a:pPr algn="ctr"/>
            <a:r>
              <a:rPr lang="en-US" sz="1400" b="1" dirty="0">
                <a:solidFill>
                  <a:srgbClr val="FF0000"/>
                </a:solidFill>
              </a:rPr>
              <a:t>R 7.570 million</a:t>
            </a:r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xmlns="" id="{36DCC811-907A-438B-8CAA-F217B02FA7E9}"/>
              </a:ext>
            </a:extLst>
          </p:cNvPr>
          <p:cNvSpPr txBox="1">
            <a:spLocks/>
          </p:cNvSpPr>
          <p:nvPr/>
        </p:nvSpPr>
        <p:spPr>
          <a:xfrm>
            <a:off x="11698913" y="6492066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5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30354869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A6316D-6F07-4B08-BEB5-6EE6440FF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DAT Key Priority Delivery Plan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362E1C8F-67E0-46F5-868E-DA54BF11D0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84739151"/>
              </p:ext>
            </p:extLst>
          </p:nvPr>
        </p:nvGraphicFramePr>
        <p:xfrm>
          <a:off x="393701" y="1122631"/>
          <a:ext cx="11462940" cy="4936059"/>
        </p:xfrm>
        <a:graphic>
          <a:graphicData uri="http://schemas.openxmlformats.org/drawingml/2006/table">
            <a:tbl>
              <a:tblPr firstRow="1" firstCol="1" bandRow="1"/>
              <a:tblGrid>
                <a:gridCol w="2659729">
                  <a:extLst>
                    <a:ext uri="{9D8B030D-6E8A-4147-A177-3AD203B41FA5}">
                      <a16:colId xmlns:a16="http://schemas.microsoft.com/office/drawing/2014/main" xmlns="" val="1737486313"/>
                    </a:ext>
                  </a:extLst>
                </a:gridCol>
                <a:gridCol w="8803211">
                  <a:extLst>
                    <a:ext uri="{9D8B030D-6E8A-4147-A177-3AD203B41FA5}">
                      <a16:colId xmlns:a16="http://schemas.microsoft.com/office/drawing/2014/main" xmlns="" val="4202653758"/>
                    </a:ext>
                  </a:extLst>
                </a:gridCol>
              </a:tblGrid>
              <a:tr h="81955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ZA" sz="1050" b="1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celerate Ease of Doing Business</a:t>
                      </a:r>
                      <a:endParaRPr lang="en-US" sz="1050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d and implement systematic solutions for economic challenges and binding constraint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vide Red Tape Reduction support for municipalitie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 efficiency of government procedures and administrative system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vide clear policy direction and legislative reform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00891748"/>
                  </a:ext>
                </a:extLst>
              </a:tr>
              <a:tr h="1238697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ZA" sz="1050" b="1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ost Investment and exports 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hance international and national positioning of the Western Cape region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lement investment facilitation &amp; retention strategy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mote trade in key destination markets (i.e. rest of Africa)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rease productivity growth and product complexity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pport tourism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pport growth opportunities in sectors and SMMEs, including promoting support to the township economy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54775888"/>
                  </a:ext>
                </a:extLst>
              </a:tr>
              <a:tr h="81955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ZA" sz="105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aling up work opportunities and skills for people without jobs </a:t>
                      </a:r>
                      <a:endParaRPr lang="en-US" sz="105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rease internships and skills programme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 access to skills opportunities and workplace opportunitie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 the skills ecosystem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ace people into work opportunitie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12699417"/>
                  </a:ext>
                </a:extLst>
              </a:tr>
              <a:tr h="1238697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ZA" sz="105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conomic Resilience</a:t>
                      </a:r>
                      <a:endParaRPr lang="en-US" sz="105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versify the regional energy mix and reduce energy intensity by promoting the natural gas sector and promoting &amp; enabling solar PV installations and energy efficiency by businesses and household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itiatives that support the Green Economy 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imate change resilience 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ater Resilience 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aste Management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34004431"/>
                  </a:ext>
                </a:extLst>
              </a:tr>
              <a:tr h="81955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ZA" sz="1050" b="1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ost Infrastructure</a:t>
                      </a:r>
                      <a:endParaRPr lang="en-US" sz="105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dentify and guide the planning and execution of major public infrastructure intervention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pport municipal infrastructure spend, particularly on labour-intensive project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dentify enabling infrastructure gap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marR="0" lvl="0" indent="-34290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050" dirty="0"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bilise and direct new infrastructure investments</a:t>
                      </a:r>
                      <a:endParaRPr lang="en-US" sz="105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49365896"/>
                  </a:ext>
                </a:extLst>
              </a:tr>
            </a:tbl>
          </a:graphicData>
        </a:graphic>
      </p:graphicFrame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xmlns="" id="{F5860B2B-5CA6-44C4-971E-2B2B4236076F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6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4251822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56761F1-C82A-4313-8DE4-8A1FCF88526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in Appropriation 2021 MTEF</a:t>
            </a:r>
          </a:p>
        </p:txBody>
      </p:sp>
    </p:spTree>
    <p:extLst>
      <p:ext uri="{BB962C8B-B14F-4D97-AF65-F5344CB8AC3E}">
        <p14:creationId xmlns:p14="http://schemas.microsoft.com/office/powerpoint/2010/main" xmlns="" val="3168806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8C850A7C-4488-466D-BD3E-265D1870F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485" y="304001"/>
            <a:ext cx="11432571" cy="559256"/>
          </a:xfrm>
        </p:spPr>
        <p:txBody>
          <a:bodyPr>
            <a:normAutofit fontScale="90000"/>
          </a:bodyPr>
          <a:lstStyle/>
          <a:p>
            <a:pPr algn="just"/>
            <a:r>
              <a:rPr lang="en-US" dirty="0">
                <a:solidFill>
                  <a:srgbClr val="002060"/>
                </a:solidFill>
              </a:rPr>
              <a:t>Impact of Budget Reduction within DEDAT</a:t>
            </a:r>
            <a:br>
              <a:rPr lang="en-US" dirty="0">
                <a:solidFill>
                  <a:srgbClr val="002060"/>
                </a:solidFill>
              </a:rPr>
            </a:br>
            <a:endParaRPr lang="en-US" dirty="0">
              <a:solidFill>
                <a:srgbClr val="002060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123498"/>
              </p:ext>
            </p:extLst>
          </p:nvPr>
        </p:nvGraphicFramePr>
        <p:xfrm>
          <a:off x="420757" y="1596276"/>
          <a:ext cx="5807764" cy="43208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95406">
                  <a:extLst>
                    <a:ext uri="{9D8B030D-6E8A-4147-A177-3AD203B41FA5}">
                      <a16:colId xmlns:a16="http://schemas.microsoft.com/office/drawing/2014/main" xmlns="" val="2370942164"/>
                    </a:ext>
                  </a:extLst>
                </a:gridCol>
                <a:gridCol w="1450230">
                  <a:extLst>
                    <a:ext uri="{9D8B030D-6E8A-4147-A177-3AD203B41FA5}">
                      <a16:colId xmlns:a16="http://schemas.microsoft.com/office/drawing/2014/main" xmlns="" val="296651172"/>
                    </a:ext>
                  </a:extLst>
                </a:gridCol>
                <a:gridCol w="1381064">
                  <a:extLst>
                    <a:ext uri="{9D8B030D-6E8A-4147-A177-3AD203B41FA5}">
                      <a16:colId xmlns:a16="http://schemas.microsoft.com/office/drawing/2014/main" xmlns="" val="1938986574"/>
                    </a:ext>
                  </a:extLst>
                </a:gridCol>
                <a:gridCol w="1381064">
                  <a:extLst>
                    <a:ext uri="{9D8B030D-6E8A-4147-A177-3AD203B41FA5}">
                      <a16:colId xmlns:a16="http://schemas.microsoft.com/office/drawing/2014/main" xmlns="" val="2075061376"/>
                    </a:ext>
                  </a:extLst>
                </a:gridCol>
              </a:tblGrid>
              <a:tr h="332838">
                <a:tc>
                  <a:txBody>
                    <a:bodyPr/>
                    <a:lstStyle/>
                    <a:p>
                      <a:r>
                        <a:rPr lang="en-US" sz="1400" b="1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gramme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0/21  Budget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1/22 Budget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ariance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8401673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minist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7 9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6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1 53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50217366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tegrated Econ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ev Services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8 6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 3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27 33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31777050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de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&amp; Sector Development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97 7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0 7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26 97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98491245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usiness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g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&amp; Gover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8 6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0 0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 4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28145049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conomic 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71 8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71 6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19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33481807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urism, Arts &amp; Entertain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95 6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7 2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18 407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3189901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kills Dev &amp; Innov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84 1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0 36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13 78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22186605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04 611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7 807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rgbClr val="FF0000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86 804)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741721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19871390"/>
              </p:ext>
            </p:extLst>
          </p:nvPr>
        </p:nvGraphicFramePr>
        <p:xfrm>
          <a:off x="6384236" y="1596276"/>
          <a:ext cx="5688494" cy="29516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62643">
                  <a:extLst>
                    <a:ext uri="{9D8B030D-6E8A-4147-A177-3AD203B41FA5}">
                      <a16:colId xmlns:a16="http://schemas.microsoft.com/office/drawing/2014/main" xmlns="" val="2370942164"/>
                    </a:ext>
                  </a:extLst>
                </a:gridCol>
                <a:gridCol w="1420447">
                  <a:extLst>
                    <a:ext uri="{9D8B030D-6E8A-4147-A177-3AD203B41FA5}">
                      <a16:colId xmlns:a16="http://schemas.microsoft.com/office/drawing/2014/main" xmlns="" val="296651172"/>
                    </a:ext>
                  </a:extLst>
                </a:gridCol>
                <a:gridCol w="1352702">
                  <a:extLst>
                    <a:ext uri="{9D8B030D-6E8A-4147-A177-3AD203B41FA5}">
                      <a16:colId xmlns:a16="http://schemas.microsoft.com/office/drawing/2014/main" xmlns="" val="1938986574"/>
                    </a:ext>
                  </a:extLst>
                </a:gridCol>
                <a:gridCol w="1352702">
                  <a:extLst>
                    <a:ext uri="{9D8B030D-6E8A-4147-A177-3AD203B41FA5}">
                      <a16:colId xmlns:a16="http://schemas.microsoft.com/office/drawing/2014/main" xmlns="" val="2075061376"/>
                    </a:ext>
                  </a:extLst>
                </a:gridCol>
              </a:tblGrid>
              <a:tr h="33283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conomic Classification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0/21  Budget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1/22 Budget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ariance</a:t>
                      </a:r>
                    </a:p>
                    <a:p>
                      <a:pPr algn="ctr"/>
                      <a:endParaRPr lang="en-US" sz="14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8401673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ompensation of Employe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65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221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2 5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32 67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50217366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Goods and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05 3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5 94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29 41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31777050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nsfers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and Subsidies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27 88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307 3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20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572)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398491245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pi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 1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4 146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36587349"/>
                  </a:ext>
                </a:extLst>
              </a:tr>
              <a:tr h="33283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04 611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7 807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>
                          <a:solidFill>
                            <a:srgbClr val="FF0000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86 804)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741721"/>
                  </a:ext>
                </a:extLst>
              </a:tr>
            </a:tbl>
          </a:graphicData>
        </a:graphic>
      </p:graphicFrame>
      <p:sp>
        <p:nvSpPr>
          <p:cNvPr id="2" name="Round Diagonal Corner Rectangle 1"/>
          <p:cNvSpPr/>
          <p:nvPr/>
        </p:nvSpPr>
        <p:spPr>
          <a:xfrm>
            <a:off x="6525491" y="4710545"/>
            <a:ext cx="5547239" cy="1967346"/>
          </a:xfrm>
          <a:prstGeom prst="round2Diag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6" name="TextBox 5"/>
          <p:cNvSpPr txBox="1"/>
          <p:nvPr/>
        </p:nvSpPr>
        <p:spPr>
          <a:xfrm>
            <a:off x="6525491" y="4876800"/>
            <a:ext cx="554723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rom a </a:t>
            </a:r>
            <a:r>
              <a:rPr lang="en-US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CoE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perspective, the impact would be that DEDAT would be unable to fill all its vacancies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he impact on G&amp;S is that DEDAT had to cut all Sector interventions as well as most of the interventions within the Digital Economy area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Within Transfers, the impact of the cuts resulted in reduced support to SMMEs as well as a reduction in the Tourism Safety allocation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xmlns="" id="{F3D3AE87-E181-40F1-B74F-A0BB72BA5EA7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8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2406646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5962A4A-59F2-4ED2-AB9A-936C37F81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2021 MTEF Budget: DEDAT Allocations  per Program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0C3DB5B-2A5C-4621-A015-607BC6C53F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82BB85D6-13E4-4346-A33C-419D80C030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0" y="1412778"/>
            <a:ext cx="5760641" cy="4405243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sz="1900" u="sng" dirty="0">
                <a:latin typeface="Calibri Light" panose="020F0302020204030204" pitchFamily="34" charset="0"/>
                <a:cs typeface="Calibri Light" panose="020F0302020204030204" pitchFamily="34" charset="0"/>
              </a:rPr>
              <a:t>Notes: </a:t>
            </a: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Programme 2: Integrated Economic Development Services includes an allocation of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26 000 million 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aimed at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hancing the sustainability and growth of SMMEs</a:t>
            </a:r>
          </a:p>
          <a:p>
            <a:pPr marL="171450" indent="-171450" algn="just">
              <a:buFont typeface="Wingdings" panose="05000000000000000000" pitchFamily="2" charset="2"/>
              <a:buChar char="q"/>
            </a:pPr>
            <a:endParaRPr lang="en-US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Programme 3: Trade and Sector Development includes an allocation of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62.113 million 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for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moting and upscaling trade and investment promotion initiatives</a:t>
            </a:r>
          </a:p>
          <a:p>
            <a:pPr marL="171450" indent="-171450" algn="just">
              <a:buFont typeface="Wingdings" panose="05000000000000000000" pitchFamily="2" charset="2"/>
              <a:buChar char="q"/>
            </a:pPr>
            <a:endParaRPr lang="en-US" dirty="0">
              <a:solidFill>
                <a:srgbClr val="FF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Programme 5: Economic Planning includes an allocation of R 39.259 million for the purpose of supporting the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unicipal Energy Resilience 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projects as well an allocation of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44 387 million 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and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40 054 million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 for the purposes of supporting the operations of the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tlantis SEZ and Saldanha IDZ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 respectively.</a:t>
            </a:r>
          </a:p>
          <a:p>
            <a:pPr marL="171450" indent="-171450" algn="just">
              <a:buFont typeface="Wingdings" panose="05000000000000000000" pitchFamily="2" charset="2"/>
              <a:buChar char="q"/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Programme 6: Tourism, Arts and Entertainment includes an allocation of 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58 398 million 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towards promoting and upscaling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stination marketing initiatives</a:t>
            </a:r>
          </a:p>
          <a:p>
            <a:pPr marL="171450" indent="-171450" algn="just">
              <a:buFont typeface="Wingdings" panose="05000000000000000000" pitchFamily="2" charset="2"/>
              <a:buChar char="q"/>
            </a:pPr>
            <a:endParaRPr lang="en-US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q"/>
            </a:pP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Programme 7: Skills Development and Innovation includes an allocation of  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 31 440 million </a:t>
            </a:r>
            <a:r>
              <a:rPr lang="en-US" dirty="0">
                <a:latin typeface="Calibri Light" panose="020F0302020204030204" pitchFamily="34" charset="0"/>
                <a:cs typeface="Calibri Light" panose="020F0302020204030204" pitchFamily="34" charset="0"/>
              </a:rPr>
              <a:t>towards</a:t>
            </a:r>
            <a:r>
              <a:rPr lang="en-US" dirty="0">
                <a:solidFill>
                  <a:srgbClr val="FF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upscaling skills development initiatives in the Province, specifically within the BPO and technology sectors</a:t>
            </a:r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0250C19F-4D28-4415-A049-ED0ED320CA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59741114"/>
              </p:ext>
            </p:extLst>
          </p:nvPr>
        </p:nvGraphicFramePr>
        <p:xfrm>
          <a:off x="393701" y="1399811"/>
          <a:ext cx="5414268" cy="4281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88192">
                  <a:extLst>
                    <a:ext uri="{9D8B030D-6E8A-4147-A177-3AD203B41FA5}">
                      <a16:colId xmlns:a16="http://schemas.microsoft.com/office/drawing/2014/main" xmlns="" val="2370942164"/>
                    </a:ext>
                  </a:extLst>
                </a:gridCol>
                <a:gridCol w="1351092">
                  <a:extLst>
                    <a:ext uri="{9D8B030D-6E8A-4147-A177-3AD203B41FA5}">
                      <a16:colId xmlns:a16="http://schemas.microsoft.com/office/drawing/2014/main" xmlns="" val="296651172"/>
                    </a:ext>
                  </a:extLst>
                </a:gridCol>
                <a:gridCol w="1287492">
                  <a:extLst>
                    <a:ext uri="{9D8B030D-6E8A-4147-A177-3AD203B41FA5}">
                      <a16:colId xmlns:a16="http://schemas.microsoft.com/office/drawing/2014/main" xmlns="" val="3632756395"/>
                    </a:ext>
                  </a:extLst>
                </a:gridCol>
                <a:gridCol w="1287492">
                  <a:extLst>
                    <a:ext uri="{9D8B030D-6E8A-4147-A177-3AD203B41FA5}">
                      <a16:colId xmlns:a16="http://schemas.microsoft.com/office/drawing/2014/main" xmlns="" val="814800955"/>
                    </a:ext>
                  </a:extLst>
                </a:gridCol>
              </a:tblGrid>
              <a:tr h="822115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gramme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1/22</a:t>
                      </a:r>
                    </a:p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2/23</a:t>
                      </a:r>
                    </a:p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TEF Allocation</a:t>
                      </a: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23/24</a:t>
                      </a:r>
                    </a:p>
                    <a:p>
                      <a:pPr algn="ctr"/>
                      <a:endParaRPr lang="en-US" sz="1200" b="1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  <a:p>
                      <a:pPr algn="ctr"/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 ‘000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58401673"/>
                  </a:ext>
                </a:extLst>
              </a:tr>
              <a:tr h="304644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dministra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6 400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2 5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4 055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050217366"/>
                  </a:ext>
                </a:extLst>
              </a:tr>
              <a:tr h="52084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tegrated Econ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ev Service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 35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7 651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9 09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831777050"/>
                  </a:ext>
                </a:extLst>
              </a:tr>
              <a:tr h="52084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de</a:t>
                      </a:r>
                      <a:r>
                        <a:rPr lang="en-US" sz="1200" baseline="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&amp; Sector Development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0 76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0 846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2 45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398491245"/>
                  </a:ext>
                </a:extLst>
              </a:tr>
              <a:tr h="52084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Business Reg &amp; Governanc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0 045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0 51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0 535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128145049"/>
                  </a:ext>
                </a:extLst>
              </a:tr>
              <a:tr h="304644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conomic Plann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71 672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57 878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95 025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033481807"/>
                  </a:ext>
                </a:extLst>
              </a:tr>
              <a:tr h="520843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urism, Arts &amp; Entertain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7 20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9 627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82 51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73189901"/>
                  </a:ext>
                </a:extLst>
              </a:tr>
              <a:tr h="462021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kills Dev &amp; Innova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0 363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5 879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6 25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722186605"/>
                  </a:ext>
                </a:extLst>
              </a:tr>
              <a:tr h="304644">
                <a:tc>
                  <a:txBody>
                    <a:bodyPr/>
                    <a:lstStyle/>
                    <a:p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7 807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14 551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59 933</a:t>
                      </a:r>
                    </a:p>
                  </a:txBody>
                  <a:tcPr marL="68580" marR="68580" marT="34290" marB="34290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3741721"/>
                  </a:ext>
                </a:extLst>
              </a:tr>
            </a:tbl>
          </a:graphicData>
        </a:graphic>
      </p:graphicFrame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xmlns="" id="{989C4BC3-BD60-4849-8158-F94B0F255AAF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06839F-D7A4-4E5D-B93D-768AD4D1DB36}" type="slidenum">
              <a:rPr lang="en-ZA" sz="800" smtClean="0"/>
              <a:pPr/>
              <a:t>9</a:t>
            </a:fld>
            <a:endParaRPr lang="en-ZA" sz="800" dirty="0"/>
          </a:p>
        </p:txBody>
      </p:sp>
    </p:spTree>
    <p:extLst>
      <p:ext uri="{BB962C8B-B14F-4D97-AF65-F5344CB8AC3E}">
        <p14:creationId xmlns:p14="http://schemas.microsoft.com/office/powerpoint/2010/main" xmlns="" val="1039254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DEDAT them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DEDAT theme" id="{71EB5A00-AF02-451A-B011-0D82DDB55421}" vid="{D0B8A601-717F-4278-9F5C-59343E50A4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216</TotalTime>
  <Words>1852</Words>
  <Application>Microsoft Office PowerPoint</Application>
  <PresentationFormat>Custom</PresentationFormat>
  <Paragraphs>453</Paragraphs>
  <Slides>1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DEDAT theme</vt:lpstr>
      <vt:lpstr>think-cell Slide</vt:lpstr>
      <vt:lpstr>    Budget Circular 2:      PHASE 2 - Approach to BUDGET 2021</vt:lpstr>
      <vt:lpstr>Overview of Different Levels &amp; Timelines of Economic Strategies and Plans</vt:lpstr>
      <vt:lpstr>New approach: Balancing the health and economic impacts of Covid-19</vt:lpstr>
      <vt:lpstr>Slide 4</vt:lpstr>
      <vt:lpstr>DEDAT Key Priority Budget Allocations</vt:lpstr>
      <vt:lpstr>DEDAT Key Priority Delivery Plan</vt:lpstr>
      <vt:lpstr>Slide 7</vt:lpstr>
      <vt:lpstr>Impact of Budget Reduction within DEDAT </vt:lpstr>
      <vt:lpstr>Overview of 2021 MTEF Budget: DEDAT Allocations  per Programme</vt:lpstr>
      <vt:lpstr>Budget Composition for Delivery  - Economic Classification</vt:lpstr>
      <vt:lpstr>CoE is key to the achievement of Economic priorities</vt:lpstr>
      <vt:lpstr> Budget Composition for Delivery  - Public Entity Allocations</vt:lpstr>
      <vt:lpstr> Budget Composition for Delivery  - Earmarked  Allocations</vt:lpstr>
      <vt:lpstr>Slide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dget Circular 2:      PHASE 2 - Approach to BUDGET 2021</dc:title>
  <dc:creator>Alfonso Jacobs</dc:creator>
  <cp:lastModifiedBy>USER</cp:lastModifiedBy>
  <cp:revision>166</cp:revision>
  <dcterms:created xsi:type="dcterms:W3CDTF">2020-09-24T09:53:54Z</dcterms:created>
  <dcterms:modified xsi:type="dcterms:W3CDTF">2021-03-23T09:40:32Z</dcterms:modified>
</cp:coreProperties>
</file>